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33" r:id="rId1"/>
    <p:sldMasterId id="2147483938" r:id="rId2"/>
    <p:sldMasterId id="2147483911" r:id="rId3"/>
    <p:sldMasterId id="2147483947" r:id="rId4"/>
    <p:sldMasterId id="2147483967" r:id="rId5"/>
    <p:sldMasterId id="2147483971" r:id="rId6"/>
  </p:sldMasterIdLst>
  <p:notesMasterIdLst>
    <p:notesMasterId r:id="rId22"/>
  </p:notesMasterIdLst>
  <p:handoutMasterIdLst>
    <p:handoutMasterId r:id="rId23"/>
  </p:handoutMasterIdLst>
  <p:sldIdLst>
    <p:sldId id="705" r:id="rId7"/>
    <p:sldId id="803" r:id="rId8"/>
    <p:sldId id="790" r:id="rId9"/>
    <p:sldId id="788" r:id="rId10"/>
    <p:sldId id="789" r:id="rId11"/>
    <p:sldId id="791" r:id="rId12"/>
    <p:sldId id="802" r:id="rId13"/>
    <p:sldId id="793" r:id="rId14"/>
    <p:sldId id="805" r:id="rId15"/>
    <p:sldId id="795" r:id="rId16"/>
    <p:sldId id="796" r:id="rId17"/>
    <p:sldId id="797" r:id="rId18"/>
    <p:sldId id="798" r:id="rId19"/>
    <p:sldId id="799" r:id="rId20"/>
    <p:sldId id="792" r:id="rId21"/>
  </p:sldIdLst>
  <p:sldSz cx="9144000" cy="6858000" type="screen4x3"/>
  <p:notesSz cx="7099300" cy="10234613"/>
  <p:custDataLst>
    <p:tags r:id="rId24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3" orient="horz" pos="3884">
          <p15:clr>
            <a:srgbClr val="A4A3A4"/>
          </p15:clr>
        </p15:guide>
        <p15:guide id="4" orient="horz" pos="1139">
          <p15:clr>
            <a:srgbClr val="A4A3A4"/>
          </p15:clr>
        </p15:guide>
        <p15:guide id="5" orient="horz" pos="255" userDrawn="1">
          <p15:clr>
            <a:srgbClr val="A4A3A4"/>
          </p15:clr>
        </p15:guide>
        <p15:guide id="6" orient="horz" pos="3793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orient="horz" pos="1729">
          <p15:clr>
            <a:srgbClr val="A4A3A4"/>
          </p15:clr>
        </p15:guide>
        <p15:guide id="9" pos="2880">
          <p15:clr>
            <a:srgbClr val="A4A3A4"/>
          </p15:clr>
        </p15:guide>
        <p15:guide id="10" pos="226">
          <p15:clr>
            <a:srgbClr val="A4A3A4"/>
          </p15:clr>
        </p15:guide>
        <p15:guide id="11" pos="3991">
          <p15:clr>
            <a:srgbClr val="A4A3A4"/>
          </p15:clr>
        </p15:guide>
        <p15:guide id="12" pos="431">
          <p15:clr>
            <a:srgbClr val="A4A3A4"/>
          </p15:clr>
        </p15:guide>
        <p15:guide id="13" pos="5329">
          <p15:clr>
            <a:srgbClr val="A4A3A4"/>
          </p15:clr>
        </p15:guide>
        <p15:guide id="14" pos="295">
          <p15:clr>
            <a:srgbClr val="A4A3A4"/>
          </p15:clr>
        </p15:guide>
        <p15:guide id="15" pos="52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3" userDrawn="1">
          <p15:clr>
            <a:srgbClr val="A4A3A4"/>
          </p15:clr>
        </p15:guide>
        <p15:guide id="2" orient="horz" pos="3124" userDrawn="1">
          <p15:clr>
            <a:srgbClr val="A4A3A4"/>
          </p15:clr>
        </p15:guide>
        <p15:guide id="3" pos="2155" userDrawn="1">
          <p15:clr>
            <a:srgbClr val="A4A3A4"/>
          </p15:clr>
        </p15:guide>
        <p15:guide id="4" pos="2147" userDrawn="1">
          <p15:clr>
            <a:srgbClr val="A4A3A4"/>
          </p15:clr>
        </p15:guide>
        <p15:guide id="5" orient="horz" pos="3127" userDrawn="1">
          <p15:clr>
            <a:srgbClr val="A4A3A4"/>
          </p15:clr>
        </p15:guide>
        <p15:guide id="6" pos="2140" userDrawn="1">
          <p15:clr>
            <a:srgbClr val="A4A3A4"/>
          </p15:clr>
        </p15:guide>
        <p15:guide id="7" orient="horz" pos="3220" userDrawn="1">
          <p15:clr>
            <a:srgbClr val="A4A3A4"/>
          </p15:clr>
        </p15:guide>
        <p15:guide id="8" orient="horz" pos="3222" userDrawn="1">
          <p15:clr>
            <a:srgbClr val="A4A3A4"/>
          </p15:clr>
        </p15:guide>
        <p15:guide id="9" orient="horz" pos="3224" userDrawn="1">
          <p15:clr>
            <a:srgbClr val="A4A3A4"/>
          </p15:clr>
        </p15:guide>
        <p15:guide id="10" pos="2251" userDrawn="1">
          <p15:clr>
            <a:srgbClr val="A4A3A4"/>
          </p15:clr>
        </p15:guide>
        <p15:guide id="11" pos="2243" userDrawn="1">
          <p15:clr>
            <a:srgbClr val="A4A3A4"/>
          </p15:clr>
        </p15:guide>
        <p15:guide id="1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87B5"/>
    <a:srgbClr val="030F40"/>
    <a:srgbClr val="D1E6FF"/>
    <a:srgbClr val="D1E0FF"/>
    <a:srgbClr val="AADC14"/>
    <a:srgbClr val="DFF6A0"/>
    <a:srgbClr val="C5D8FF"/>
    <a:srgbClr val="F8FBE9"/>
    <a:srgbClr val="6D6D6D"/>
    <a:srgbClr val="93B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 autoAdjust="0"/>
    <p:restoredTop sz="51633" autoAdjust="0"/>
  </p:normalViewPr>
  <p:slideViewPr>
    <p:cSldViewPr snapToGrid="0" snapToObjects="1">
      <p:cViewPr>
        <p:scale>
          <a:sx n="45" d="100"/>
          <a:sy n="45" d="100"/>
        </p:scale>
        <p:origin x="1900" y="52"/>
      </p:cViewPr>
      <p:guideLst>
        <p:guide orient="horz" pos="2160"/>
        <p:guide orient="horz" pos="3884"/>
        <p:guide orient="horz" pos="1139"/>
        <p:guide orient="horz" pos="255"/>
        <p:guide orient="horz" pos="3793"/>
        <p:guide orient="horz" pos="640"/>
        <p:guide orient="horz" pos="1729"/>
        <p:guide pos="2880"/>
        <p:guide pos="226"/>
        <p:guide pos="3991"/>
        <p:guide pos="431"/>
        <p:guide pos="5329"/>
        <p:guide pos="295"/>
        <p:guide pos="5216"/>
      </p:guideLst>
    </p:cSldViewPr>
  </p:slideViewPr>
  <p:outlineViewPr>
    <p:cViewPr>
      <p:scale>
        <a:sx n="33" d="100"/>
        <a:sy n="33" d="100"/>
      </p:scale>
      <p:origin x="0" y="15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-2172" y="-96"/>
      </p:cViewPr>
      <p:guideLst>
        <p:guide orient="horz" pos="3123"/>
        <p:guide orient="horz" pos="3124"/>
        <p:guide pos="2155"/>
        <p:guide pos="2147"/>
        <p:guide orient="horz" pos="3127"/>
        <p:guide pos="2140"/>
        <p:guide orient="horz" pos="3220"/>
        <p:guide orient="horz" pos="3222"/>
        <p:guide orient="horz" pos="3224"/>
        <p:guide pos="2251"/>
        <p:guide pos="2243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7A5B800-D83C-4157-B784-10E155BB5EA4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a-ES"/>
        </a:p>
      </dgm:t>
    </dgm:pt>
    <dgm:pt modelId="{DBD7CC68-AEF1-4F96-8EF1-1E0CD0B4252B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s-ES" sz="1000" b="1" dirty="0">
              <a:solidFill>
                <a:srgbClr val="030F40"/>
              </a:solidFill>
            </a:rPr>
            <a:t>Sensórica y Monitoreo</a:t>
          </a:r>
          <a:endParaRPr lang="ca-ES" sz="1000" b="1" dirty="0">
            <a:solidFill>
              <a:srgbClr val="030F40"/>
            </a:solidFill>
          </a:endParaRPr>
        </a:p>
      </dgm:t>
    </dgm:pt>
    <dgm:pt modelId="{BEB41210-B80A-4685-905F-A4481C797BDC}" type="parTrans" cxnId="{BC3AD7E4-73E4-4264-82C9-A05838764B63}">
      <dgm:prSet/>
      <dgm:spPr/>
      <dgm:t>
        <a:bodyPr/>
        <a:lstStyle/>
        <a:p>
          <a:endParaRPr lang="ca-ES"/>
        </a:p>
      </dgm:t>
    </dgm:pt>
    <dgm:pt modelId="{9767E16E-53C6-4F0B-970F-02A0CBC4CDBE}" type="sibTrans" cxnId="{BC3AD7E4-73E4-4264-82C9-A05838764B63}">
      <dgm:prSet/>
      <dgm:spPr/>
      <dgm:t>
        <a:bodyPr/>
        <a:lstStyle/>
        <a:p>
          <a:endParaRPr lang="ca-ES" dirty="0"/>
        </a:p>
      </dgm:t>
    </dgm:pt>
    <dgm:pt modelId="{AA5A7820-D0D0-4365-8C33-83840EE69922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s-ES" sz="1300" b="1" dirty="0" smtClean="0">
              <a:solidFill>
                <a:srgbClr val="030F40"/>
              </a:solidFill>
            </a:rPr>
            <a:t>CULTIVO</a:t>
          </a:r>
          <a:endParaRPr lang="ca-ES" sz="1300" b="1" dirty="0">
            <a:solidFill>
              <a:srgbClr val="030F40"/>
            </a:solidFill>
          </a:endParaRPr>
        </a:p>
      </dgm:t>
    </dgm:pt>
    <dgm:pt modelId="{42BB7688-6BBE-4482-A440-592C98D6E5C7}" type="parTrans" cxnId="{82B2A00F-44FF-4622-B3F1-5E6D6FE5C830}">
      <dgm:prSet/>
      <dgm:spPr/>
      <dgm:t>
        <a:bodyPr/>
        <a:lstStyle/>
        <a:p>
          <a:endParaRPr lang="ca-ES"/>
        </a:p>
      </dgm:t>
    </dgm:pt>
    <dgm:pt modelId="{E8C44A12-9D57-4CC6-8665-EADB4B5B2D88}" type="sibTrans" cxnId="{82B2A00F-44FF-4622-B3F1-5E6D6FE5C830}">
      <dgm:prSet/>
      <dgm:spPr/>
      <dgm:t>
        <a:bodyPr/>
        <a:lstStyle/>
        <a:p>
          <a:endParaRPr lang="ca-ES" dirty="0"/>
        </a:p>
      </dgm:t>
    </dgm:pt>
    <dgm:pt modelId="{51F3645E-14E8-4649-910B-FBF13EB57A75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s-ES" sz="1000" b="1" dirty="0" smtClean="0">
              <a:solidFill>
                <a:srgbClr val="030F40"/>
              </a:solidFill>
            </a:rPr>
            <a:t>Infraestruc-turas</a:t>
          </a:r>
          <a:endParaRPr lang="ca-ES" sz="1000" b="1" dirty="0">
            <a:solidFill>
              <a:srgbClr val="030F40"/>
            </a:solidFill>
          </a:endParaRPr>
        </a:p>
      </dgm:t>
    </dgm:pt>
    <dgm:pt modelId="{BB9A4D86-C5EF-4B8D-AB0A-1810261C9187}" type="parTrans" cxnId="{7923B7F5-246D-4BED-A4CB-2D022F919956}">
      <dgm:prSet/>
      <dgm:spPr/>
      <dgm:t>
        <a:bodyPr/>
        <a:lstStyle/>
        <a:p>
          <a:endParaRPr lang="ca-ES"/>
        </a:p>
      </dgm:t>
    </dgm:pt>
    <dgm:pt modelId="{ABC93EBA-C7E0-4ACB-8DF2-13A03337EAD1}" type="sibTrans" cxnId="{7923B7F5-246D-4BED-A4CB-2D022F919956}">
      <dgm:prSet/>
      <dgm:spPr/>
      <dgm:t>
        <a:bodyPr/>
        <a:lstStyle/>
        <a:p>
          <a:endParaRPr lang="ca-ES" dirty="0"/>
        </a:p>
      </dgm:t>
    </dgm:pt>
    <dgm:pt modelId="{309A0544-4D71-4DB3-99E8-85BBE3586F2D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s-ES" sz="1000" b="1" dirty="0">
              <a:solidFill>
                <a:srgbClr val="030F40"/>
              </a:solidFill>
            </a:rPr>
            <a:t>Gestión CCRR</a:t>
          </a:r>
          <a:endParaRPr lang="ca-ES" sz="1000" b="1" dirty="0">
            <a:solidFill>
              <a:srgbClr val="030F40"/>
            </a:solidFill>
          </a:endParaRPr>
        </a:p>
      </dgm:t>
    </dgm:pt>
    <dgm:pt modelId="{2C1E2EAE-1749-4EA5-9D72-9E040757BFB8}" type="parTrans" cxnId="{E66F2114-8D8D-43F7-B8B9-8A3925EFD14A}">
      <dgm:prSet/>
      <dgm:spPr/>
      <dgm:t>
        <a:bodyPr/>
        <a:lstStyle/>
        <a:p>
          <a:endParaRPr lang="ca-ES"/>
        </a:p>
      </dgm:t>
    </dgm:pt>
    <dgm:pt modelId="{A5D54868-86E6-4915-906A-2374A1DEDDD8}" type="sibTrans" cxnId="{E66F2114-8D8D-43F7-B8B9-8A3925EFD14A}">
      <dgm:prSet/>
      <dgm:spPr/>
      <dgm:t>
        <a:bodyPr/>
        <a:lstStyle/>
        <a:p>
          <a:endParaRPr lang="ca-ES" dirty="0"/>
        </a:p>
      </dgm:t>
    </dgm:pt>
    <dgm:pt modelId="{6F483F8F-9FCF-478C-A70F-84E6BF6FDE50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s-ES" sz="1000" b="1" dirty="0" smtClean="0">
              <a:solidFill>
                <a:srgbClr val="030F40"/>
              </a:solidFill>
            </a:rPr>
            <a:t>Teledetec-ción</a:t>
          </a:r>
          <a:endParaRPr lang="ca-ES" sz="1000" b="1" dirty="0">
            <a:solidFill>
              <a:srgbClr val="030F40"/>
            </a:solidFill>
          </a:endParaRPr>
        </a:p>
      </dgm:t>
    </dgm:pt>
    <dgm:pt modelId="{C4FAE3CC-953E-4790-9107-68286627EC67}" type="sibTrans" cxnId="{E68010B4-79DA-4AD2-BBD1-0A54606A37B5}">
      <dgm:prSet/>
      <dgm:spPr/>
      <dgm:t>
        <a:bodyPr/>
        <a:lstStyle/>
        <a:p>
          <a:endParaRPr lang="ca-ES" dirty="0"/>
        </a:p>
      </dgm:t>
    </dgm:pt>
    <dgm:pt modelId="{1965B4AF-CF15-458B-8461-C53FC66DFCE2}" type="parTrans" cxnId="{E68010B4-79DA-4AD2-BBD1-0A54606A37B5}">
      <dgm:prSet/>
      <dgm:spPr/>
      <dgm:t>
        <a:bodyPr/>
        <a:lstStyle/>
        <a:p>
          <a:endParaRPr lang="ca-ES"/>
        </a:p>
      </dgm:t>
    </dgm:pt>
    <dgm:pt modelId="{B759D7DD-767C-4A0F-9D80-3DE594D96954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s-ES" sz="1000" b="1" dirty="0">
              <a:solidFill>
                <a:srgbClr val="030F40"/>
              </a:solidFill>
            </a:rPr>
            <a:t>Riego precisión</a:t>
          </a:r>
          <a:endParaRPr lang="ca-ES" sz="1000" b="1" dirty="0">
            <a:solidFill>
              <a:srgbClr val="030F40"/>
            </a:solidFill>
          </a:endParaRPr>
        </a:p>
      </dgm:t>
    </dgm:pt>
    <dgm:pt modelId="{318602BB-AD29-4886-9953-C2FC7B1A15E1}" type="parTrans" cxnId="{F076EAE5-6F79-4805-AC24-163491355BDF}">
      <dgm:prSet/>
      <dgm:spPr/>
      <dgm:t>
        <a:bodyPr/>
        <a:lstStyle/>
        <a:p>
          <a:endParaRPr lang="ca-ES"/>
        </a:p>
      </dgm:t>
    </dgm:pt>
    <dgm:pt modelId="{3588AC0C-DB01-4464-AF11-BC86B92E1766}" type="sibTrans" cxnId="{F076EAE5-6F79-4805-AC24-163491355BDF}">
      <dgm:prSet/>
      <dgm:spPr/>
      <dgm:t>
        <a:bodyPr/>
        <a:lstStyle/>
        <a:p>
          <a:endParaRPr lang="ca-ES" dirty="0"/>
        </a:p>
      </dgm:t>
    </dgm:pt>
    <dgm:pt modelId="{6715AA07-E748-4084-8B21-5B965068AB17}" type="pres">
      <dgm:prSet presAssocID="{D7A5B800-D83C-4157-B784-10E155BB5EA4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69E99138-9934-4133-8DDB-71384460A69B}" type="pres">
      <dgm:prSet presAssocID="{DBD7CC68-AEF1-4F96-8EF1-1E0CD0B4252B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3B55CF7-70D4-4CA8-B3FF-7D5A5C7D9BC8}" type="pres">
      <dgm:prSet presAssocID="{9767E16E-53C6-4F0B-970F-02A0CBC4CDBE}" presName="sibTrans" presStyleLbl="sibTrans2D1" presStyleIdx="0" presStyleCnt="6" custScaleY="55242"/>
      <dgm:spPr/>
      <dgm:t>
        <a:bodyPr/>
        <a:lstStyle/>
        <a:p>
          <a:endParaRPr lang="es-ES"/>
        </a:p>
      </dgm:t>
    </dgm:pt>
    <dgm:pt modelId="{FAF41D12-F2D8-4A02-86C1-09535A39ADCF}" type="pres">
      <dgm:prSet presAssocID="{9767E16E-53C6-4F0B-970F-02A0CBC4CDBE}" presName="connectorText" presStyleLbl="sibTrans2D1" presStyleIdx="0" presStyleCnt="6"/>
      <dgm:spPr/>
      <dgm:t>
        <a:bodyPr/>
        <a:lstStyle/>
        <a:p>
          <a:endParaRPr lang="es-ES"/>
        </a:p>
      </dgm:t>
    </dgm:pt>
    <dgm:pt modelId="{D063E94B-E931-4ABB-9C05-D74122B9A589}" type="pres">
      <dgm:prSet presAssocID="{6F483F8F-9FCF-478C-A70F-84E6BF6FDE50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CBC85A8-21FD-42A8-A9A8-90AFF6D48166}" type="pres">
      <dgm:prSet presAssocID="{C4FAE3CC-953E-4790-9107-68286627EC67}" presName="sibTrans" presStyleLbl="sibTrans2D1" presStyleIdx="1" presStyleCnt="6" custScaleY="55242"/>
      <dgm:spPr/>
      <dgm:t>
        <a:bodyPr/>
        <a:lstStyle/>
        <a:p>
          <a:endParaRPr lang="es-ES"/>
        </a:p>
      </dgm:t>
    </dgm:pt>
    <dgm:pt modelId="{B38A8E30-753C-4C31-8591-C284814A7552}" type="pres">
      <dgm:prSet presAssocID="{C4FAE3CC-953E-4790-9107-68286627EC67}" presName="connectorText" presStyleLbl="sibTrans2D1" presStyleIdx="1" presStyleCnt="6"/>
      <dgm:spPr/>
      <dgm:t>
        <a:bodyPr/>
        <a:lstStyle/>
        <a:p>
          <a:endParaRPr lang="es-ES"/>
        </a:p>
      </dgm:t>
    </dgm:pt>
    <dgm:pt modelId="{E46CD275-8A5C-41EC-A151-5A0F93419B64}" type="pres">
      <dgm:prSet presAssocID="{AA5A7820-D0D0-4365-8C33-83840EE69922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B468A1E-3D63-49A7-8C09-3284F4DCD984}" type="pres">
      <dgm:prSet presAssocID="{E8C44A12-9D57-4CC6-8665-EADB4B5B2D88}" presName="sibTrans" presStyleLbl="sibTrans2D1" presStyleIdx="2" presStyleCnt="6" custScaleY="55242"/>
      <dgm:spPr/>
      <dgm:t>
        <a:bodyPr/>
        <a:lstStyle/>
        <a:p>
          <a:endParaRPr lang="es-ES"/>
        </a:p>
      </dgm:t>
    </dgm:pt>
    <dgm:pt modelId="{E48B6CDE-0AF1-438B-9BB7-4555C83FBF38}" type="pres">
      <dgm:prSet presAssocID="{E8C44A12-9D57-4CC6-8665-EADB4B5B2D88}" presName="connectorText" presStyleLbl="sibTrans2D1" presStyleIdx="2" presStyleCnt="6"/>
      <dgm:spPr/>
      <dgm:t>
        <a:bodyPr/>
        <a:lstStyle/>
        <a:p>
          <a:endParaRPr lang="es-ES"/>
        </a:p>
      </dgm:t>
    </dgm:pt>
    <dgm:pt modelId="{19ACFEAC-89F8-4F7A-8AF4-5CDEA95703C4}" type="pres">
      <dgm:prSet presAssocID="{B759D7DD-767C-4A0F-9D80-3DE594D96954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23D71C9-59EF-4EC0-A4B9-BAC3CE5F06D5}" type="pres">
      <dgm:prSet presAssocID="{3588AC0C-DB01-4464-AF11-BC86B92E1766}" presName="sibTrans" presStyleLbl="sibTrans2D1" presStyleIdx="3" presStyleCnt="6" custScaleY="55242"/>
      <dgm:spPr/>
      <dgm:t>
        <a:bodyPr/>
        <a:lstStyle/>
        <a:p>
          <a:endParaRPr lang="es-ES"/>
        </a:p>
      </dgm:t>
    </dgm:pt>
    <dgm:pt modelId="{61D97D95-0086-499A-AD8F-5EF2CE22B0CE}" type="pres">
      <dgm:prSet presAssocID="{3588AC0C-DB01-4464-AF11-BC86B92E1766}" presName="connectorText" presStyleLbl="sibTrans2D1" presStyleIdx="3" presStyleCnt="6"/>
      <dgm:spPr/>
      <dgm:t>
        <a:bodyPr/>
        <a:lstStyle/>
        <a:p>
          <a:endParaRPr lang="es-ES"/>
        </a:p>
      </dgm:t>
    </dgm:pt>
    <dgm:pt modelId="{8986653E-9368-4918-99B6-93F52EC357CE}" type="pres">
      <dgm:prSet presAssocID="{51F3645E-14E8-4649-910B-FBF13EB57A75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1F2CE0C-5483-4268-8ADF-96D76841B135}" type="pres">
      <dgm:prSet presAssocID="{ABC93EBA-C7E0-4ACB-8DF2-13A03337EAD1}" presName="sibTrans" presStyleLbl="sibTrans2D1" presStyleIdx="4" presStyleCnt="6" custScaleY="55242"/>
      <dgm:spPr/>
      <dgm:t>
        <a:bodyPr/>
        <a:lstStyle/>
        <a:p>
          <a:endParaRPr lang="es-ES"/>
        </a:p>
      </dgm:t>
    </dgm:pt>
    <dgm:pt modelId="{AA2C67FE-F057-41F3-9B73-9C975ED2A162}" type="pres">
      <dgm:prSet presAssocID="{ABC93EBA-C7E0-4ACB-8DF2-13A03337EAD1}" presName="connectorText" presStyleLbl="sibTrans2D1" presStyleIdx="4" presStyleCnt="6"/>
      <dgm:spPr/>
      <dgm:t>
        <a:bodyPr/>
        <a:lstStyle/>
        <a:p>
          <a:endParaRPr lang="es-ES"/>
        </a:p>
      </dgm:t>
    </dgm:pt>
    <dgm:pt modelId="{20DF7171-6E8B-4FFF-B727-89A1BD2B3553}" type="pres">
      <dgm:prSet presAssocID="{309A0544-4D71-4DB3-99E8-85BBE3586F2D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161D9C1-B646-4105-8D08-00A2E33414D1}" type="pres">
      <dgm:prSet presAssocID="{A5D54868-86E6-4915-906A-2374A1DEDDD8}" presName="sibTrans" presStyleLbl="sibTrans2D1" presStyleIdx="5" presStyleCnt="6" custScaleY="55242"/>
      <dgm:spPr/>
      <dgm:t>
        <a:bodyPr/>
        <a:lstStyle/>
        <a:p>
          <a:endParaRPr lang="es-ES"/>
        </a:p>
      </dgm:t>
    </dgm:pt>
    <dgm:pt modelId="{51B8CD66-0079-4D74-A88A-16EFF9AC054A}" type="pres">
      <dgm:prSet presAssocID="{A5D54868-86E6-4915-906A-2374A1DEDDD8}" presName="connectorText" presStyleLbl="sibTrans2D1" presStyleIdx="5" presStyleCnt="6"/>
      <dgm:spPr/>
      <dgm:t>
        <a:bodyPr/>
        <a:lstStyle/>
        <a:p>
          <a:endParaRPr lang="es-ES"/>
        </a:p>
      </dgm:t>
    </dgm:pt>
  </dgm:ptLst>
  <dgm:cxnLst>
    <dgm:cxn modelId="{43B8F321-E183-4BC0-AB11-DF8EA26F4DEC}" type="presOf" srcId="{51F3645E-14E8-4649-910B-FBF13EB57A75}" destId="{8986653E-9368-4918-99B6-93F52EC357CE}" srcOrd="0" destOrd="0" presId="urn:microsoft.com/office/officeart/2005/8/layout/cycle2"/>
    <dgm:cxn modelId="{53735BDB-6CD2-4422-AD74-185F25E15E0A}" type="presOf" srcId="{3588AC0C-DB01-4464-AF11-BC86B92E1766}" destId="{023D71C9-59EF-4EC0-A4B9-BAC3CE5F06D5}" srcOrd="0" destOrd="0" presId="urn:microsoft.com/office/officeart/2005/8/layout/cycle2"/>
    <dgm:cxn modelId="{50CD4EC5-DAC2-4486-B19C-DC68B74A7F8B}" type="presOf" srcId="{DBD7CC68-AEF1-4F96-8EF1-1E0CD0B4252B}" destId="{69E99138-9934-4133-8DDB-71384460A69B}" srcOrd="0" destOrd="0" presId="urn:microsoft.com/office/officeart/2005/8/layout/cycle2"/>
    <dgm:cxn modelId="{0BDD7C68-880B-47E6-9E3B-026B24E5BB7A}" type="presOf" srcId="{ABC93EBA-C7E0-4ACB-8DF2-13A03337EAD1}" destId="{31F2CE0C-5483-4268-8ADF-96D76841B135}" srcOrd="0" destOrd="0" presId="urn:microsoft.com/office/officeart/2005/8/layout/cycle2"/>
    <dgm:cxn modelId="{82B2A00F-44FF-4622-B3F1-5E6D6FE5C830}" srcId="{D7A5B800-D83C-4157-B784-10E155BB5EA4}" destId="{AA5A7820-D0D0-4365-8C33-83840EE69922}" srcOrd="2" destOrd="0" parTransId="{42BB7688-6BBE-4482-A440-592C98D6E5C7}" sibTransId="{E8C44A12-9D57-4CC6-8665-EADB4B5B2D88}"/>
    <dgm:cxn modelId="{C2A80B90-36E0-4414-9641-AF4D83B9B773}" type="presOf" srcId="{9767E16E-53C6-4F0B-970F-02A0CBC4CDBE}" destId="{FAF41D12-F2D8-4A02-86C1-09535A39ADCF}" srcOrd="1" destOrd="0" presId="urn:microsoft.com/office/officeart/2005/8/layout/cycle2"/>
    <dgm:cxn modelId="{11C1DED4-0C5E-4834-A91C-CF76193BCB1F}" type="presOf" srcId="{B759D7DD-767C-4A0F-9D80-3DE594D96954}" destId="{19ACFEAC-89F8-4F7A-8AF4-5CDEA95703C4}" srcOrd="0" destOrd="0" presId="urn:microsoft.com/office/officeart/2005/8/layout/cycle2"/>
    <dgm:cxn modelId="{73C0DF0D-CA2D-4F7F-98AB-C01BF8910F39}" type="presOf" srcId="{E8C44A12-9D57-4CC6-8665-EADB4B5B2D88}" destId="{E48B6CDE-0AF1-438B-9BB7-4555C83FBF38}" srcOrd="1" destOrd="0" presId="urn:microsoft.com/office/officeart/2005/8/layout/cycle2"/>
    <dgm:cxn modelId="{E66F2114-8D8D-43F7-B8B9-8A3925EFD14A}" srcId="{D7A5B800-D83C-4157-B784-10E155BB5EA4}" destId="{309A0544-4D71-4DB3-99E8-85BBE3586F2D}" srcOrd="5" destOrd="0" parTransId="{2C1E2EAE-1749-4EA5-9D72-9E040757BFB8}" sibTransId="{A5D54868-86E6-4915-906A-2374A1DEDDD8}"/>
    <dgm:cxn modelId="{E68010B4-79DA-4AD2-BBD1-0A54606A37B5}" srcId="{D7A5B800-D83C-4157-B784-10E155BB5EA4}" destId="{6F483F8F-9FCF-478C-A70F-84E6BF6FDE50}" srcOrd="1" destOrd="0" parTransId="{1965B4AF-CF15-458B-8461-C53FC66DFCE2}" sibTransId="{C4FAE3CC-953E-4790-9107-68286627EC67}"/>
    <dgm:cxn modelId="{11792C17-AA56-47ED-BF92-976ABBB02940}" type="presOf" srcId="{AA5A7820-D0D0-4365-8C33-83840EE69922}" destId="{E46CD275-8A5C-41EC-A151-5A0F93419B64}" srcOrd="0" destOrd="0" presId="urn:microsoft.com/office/officeart/2005/8/layout/cycle2"/>
    <dgm:cxn modelId="{43A6A539-1572-43E3-8AD1-5C425969DE1D}" type="presOf" srcId="{309A0544-4D71-4DB3-99E8-85BBE3586F2D}" destId="{20DF7171-6E8B-4FFF-B727-89A1BD2B3553}" srcOrd="0" destOrd="0" presId="urn:microsoft.com/office/officeart/2005/8/layout/cycle2"/>
    <dgm:cxn modelId="{969E9098-718A-41EF-9E49-89480DBD6D1F}" type="presOf" srcId="{E8C44A12-9D57-4CC6-8665-EADB4B5B2D88}" destId="{6B468A1E-3D63-49A7-8C09-3284F4DCD984}" srcOrd="0" destOrd="0" presId="urn:microsoft.com/office/officeart/2005/8/layout/cycle2"/>
    <dgm:cxn modelId="{A94C2219-3C1F-4E3B-9755-D69F4B10F51B}" type="presOf" srcId="{6F483F8F-9FCF-478C-A70F-84E6BF6FDE50}" destId="{D063E94B-E931-4ABB-9C05-D74122B9A589}" srcOrd="0" destOrd="0" presId="urn:microsoft.com/office/officeart/2005/8/layout/cycle2"/>
    <dgm:cxn modelId="{1708D835-BF95-4DAF-B235-7FAAC028C60B}" type="presOf" srcId="{D7A5B800-D83C-4157-B784-10E155BB5EA4}" destId="{6715AA07-E748-4084-8B21-5B965068AB17}" srcOrd="0" destOrd="0" presId="urn:microsoft.com/office/officeart/2005/8/layout/cycle2"/>
    <dgm:cxn modelId="{9F836D30-5C8E-469B-90C8-4245E971B84F}" type="presOf" srcId="{9767E16E-53C6-4F0B-970F-02A0CBC4CDBE}" destId="{83B55CF7-70D4-4CA8-B3FF-7D5A5C7D9BC8}" srcOrd="0" destOrd="0" presId="urn:microsoft.com/office/officeart/2005/8/layout/cycle2"/>
    <dgm:cxn modelId="{BC3AD7E4-73E4-4264-82C9-A05838764B63}" srcId="{D7A5B800-D83C-4157-B784-10E155BB5EA4}" destId="{DBD7CC68-AEF1-4F96-8EF1-1E0CD0B4252B}" srcOrd="0" destOrd="0" parTransId="{BEB41210-B80A-4685-905F-A4481C797BDC}" sibTransId="{9767E16E-53C6-4F0B-970F-02A0CBC4CDBE}"/>
    <dgm:cxn modelId="{C5284A86-BDAB-4783-A502-47048E932EB7}" type="presOf" srcId="{A5D54868-86E6-4915-906A-2374A1DEDDD8}" destId="{3161D9C1-B646-4105-8D08-00A2E33414D1}" srcOrd="0" destOrd="0" presId="urn:microsoft.com/office/officeart/2005/8/layout/cycle2"/>
    <dgm:cxn modelId="{3EEE1026-F042-43E8-89EA-893092682834}" type="presOf" srcId="{C4FAE3CC-953E-4790-9107-68286627EC67}" destId="{1CBC85A8-21FD-42A8-A9A8-90AFF6D48166}" srcOrd="0" destOrd="0" presId="urn:microsoft.com/office/officeart/2005/8/layout/cycle2"/>
    <dgm:cxn modelId="{F076EAE5-6F79-4805-AC24-163491355BDF}" srcId="{D7A5B800-D83C-4157-B784-10E155BB5EA4}" destId="{B759D7DD-767C-4A0F-9D80-3DE594D96954}" srcOrd="3" destOrd="0" parTransId="{318602BB-AD29-4886-9953-C2FC7B1A15E1}" sibTransId="{3588AC0C-DB01-4464-AF11-BC86B92E1766}"/>
    <dgm:cxn modelId="{7B7AF1C5-79A6-4660-BEE3-A9820C9EB7DA}" type="presOf" srcId="{C4FAE3CC-953E-4790-9107-68286627EC67}" destId="{B38A8E30-753C-4C31-8591-C284814A7552}" srcOrd="1" destOrd="0" presId="urn:microsoft.com/office/officeart/2005/8/layout/cycle2"/>
    <dgm:cxn modelId="{DF9318F9-3911-474E-B497-205232E7E7B5}" type="presOf" srcId="{ABC93EBA-C7E0-4ACB-8DF2-13A03337EAD1}" destId="{AA2C67FE-F057-41F3-9B73-9C975ED2A162}" srcOrd="1" destOrd="0" presId="urn:microsoft.com/office/officeart/2005/8/layout/cycle2"/>
    <dgm:cxn modelId="{7923B7F5-246D-4BED-A4CB-2D022F919956}" srcId="{D7A5B800-D83C-4157-B784-10E155BB5EA4}" destId="{51F3645E-14E8-4649-910B-FBF13EB57A75}" srcOrd="4" destOrd="0" parTransId="{BB9A4D86-C5EF-4B8D-AB0A-1810261C9187}" sibTransId="{ABC93EBA-C7E0-4ACB-8DF2-13A03337EAD1}"/>
    <dgm:cxn modelId="{A514E513-2934-4970-81BB-9B0091C2DB87}" type="presOf" srcId="{3588AC0C-DB01-4464-AF11-BC86B92E1766}" destId="{61D97D95-0086-499A-AD8F-5EF2CE22B0CE}" srcOrd="1" destOrd="0" presId="urn:microsoft.com/office/officeart/2005/8/layout/cycle2"/>
    <dgm:cxn modelId="{0C74A809-A12D-4E65-B61D-96F2E1AD6297}" type="presOf" srcId="{A5D54868-86E6-4915-906A-2374A1DEDDD8}" destId="{51B8CD66-0079-4D74-A88A-16EFF9AC054A}" srcOrd="1" destOrd="0" presId="urn:microsoft.com/office/officeart/2005/8/layout/cycle2"/>
    <dgm:cxn modelId="{72A15575-5A8C-48E0-8EA1-6EEDF5F039D9}" type="presParOf" srcId="{6715AA07-E748-4084-8B21-5B965068AB17}" destId="{69E99138-9934-4133-8DDB-71384460A69B}" srcOrd="0" destOrd="0" presId="urn:microsoft.com/office/officeart/2005/8/layout/cycle2"/>
    <dgm:cxn modelId="{23ADE5C2-AD04-4BA0-A6C0-50A7C95AF1C2}" type="presParOf" srcId="{6715AA07-E748-4084-8B21-5B965068AB17}" destId="{83B55CF7-70D4-4CA8-B3FF-7D5A5C7D9BC8}" srcOrd="1" destOrd="0" presId="urn:microsoft.com/office/officeart/2005/8/layout/cycle2"/>
    <dgm:cxn modelId="{FF99839E-6B75-46C3-9C0B-F14EDD3DC299}" type="presParOf" srcId="{83B55CF7-70D4-4CA8-B3FF-7D5A5C7D9BC8}" destId="{FAF41D12-F2D8-4A02-86C1-09535A39ADCF}" srcOrd="0" destOrd="0" presId="urn:microsoft.com/office/officeart/2005/8/layout/cycle2"/>
    <dgm:cxn modelId="{8389D625-9F46-4D25-9686-29F06B159D43}" type="presParOf" srcId="{6715AA07-E748-4084-8B21-5B965068AB17}" destId="{D063E94B-E931-4ABB-9C05-D74122B9A589}" srcOrd="2" destOrd="0" presId="urn:microsoft.com/office/officeart/2005/8/layout/cycle2"/>
    <dgm:cxn modelId="{48949B1B-924B-470A-9A3E-7AEB7BC01351}" type="presParOf" srcId="{6715AA07-E748-4084-8B21-5B965068AB17}" destId="{1CBC85A8-21FD-42A8-A9A8-90AFF6D48166}" srcOrd="3" destOrd="0" presId="urn:microsoft.com/office/officeart/2005/8/layout/cycle2"/>
    <dgm:cxn modelId="{8AC6B51D-6DB8-4EC8-864A-C9617E48ECE0}" type="presParOf" srcId="{1CBC85A8-21FD-42A8-A9A8-90AFF6D48166}" destId="{B38A8E30-753C-4C31-8591-C284814A7552}" srcOrd="0" destOrd="0" presId="urn:microsoft.com/office/officeart/2005/8/layout/cycle2"/>
    <dgm:cxn modelId="{74B45CB6-8138-4994-AACB-605CF0F2B1AD}" type="presParOf" srcId="{6715AA07-E748-4084-8B21-5B965068AB17}" destId="{E46CD275-8A5C-41EC-A151-5A0F93419B64}" srcOrd="4" destOrd="0" presId="urn:microsoft.com/office/officeart/2005/8/layout/cycle2"/>
    <dgm:cxn modelId="{1700C4C5-3B0A-4799-ACF4-675DDEB43D3B}" type="presParOf" srcId="{6715AA07-E748-4084-8B21-5B965068AB17}" destId="{6B468A1E-3D63-49A7-8C09-3284F4DCD984}" srcOrd="5" destOrd="0" presId="urn:microsoft.com/office/officeart/2005/8/layout/cycle2"/>
    <dgm:cxn modelId="{375FA8D4-5ABF-4FF5-BFE2-9B0C381C4354}" type="presParOf" srcId="{6B468A1E-3D63-49A7-8C09-3284F4DCD984}" destId="{E48B6CDE-0AF1-438B-9BB7-4555C83FBF38}" srcOrd="0" destOrd="0" presId="urn:microsoft.com/office/officeart/2005/8/layout/cycle2"/>
    <dgm:cxn modelId="{66B8DAA1-CFD2-45F0-AA0A-56A5EA975221}" type="presParOf" srcId="{6715AA07-E748-4084-8B21-5B965068AB17}" destId="{19ACFEAC-89F8-4F7A-8AF4-5CDEA95703C4}" srcOrd="6" destOrd="0" presId="urn:microsoft.com/office/officeart/2005/8/layout/cycle2"/>
    <dgm:cxn modelId="{289C73F8-068E-4536-926A-D767760350A9}" type="presParOf" srcId="{6715AA07-E748-4084-8B21-5B965068AB17}" destId="{023D71C9-59EF-4EC0-A4B9-BAC3CE5F06D5}" srcOrd="7" destOrd="0" presId="urn:microsoft.com/office/officeart/2005/8/layout/cycle2"/>
    <dgm:cxn modelId="{128A11CC-43CC-44E8-AA27-41EC2A60B092}" type="presParOf" srcId="{023D71C9-59EF-4EC0-A4B9-BAC3CE5F06D5}" destId="{61D97D95-0086-499A-AD8F-5EF2CE22B0CE}" srcOrd="0" destOrd="0" presId="urn:microsoft.com/office/officeart/2005/8/layout/cycle2"/>
    <dgm:cxn modelId="{DDE4B589-63AF-4787-885E-97192A2B611D}" type="presParOf" srcId="{6715AA07-E748-4084-8B21-5B965068AB17}" destId="{8986653E-9368-4918-99B6-93F52EC357CE}" srcOrd="8" destOrd="0" presId="urn:microsoft.com/office/officeart/2005/8/layout/cycle2"/>
    <dgm:cxn modelId="{7E0E4213-8777-402D-ABE1-0665F8E89516}" type="presParOf" srcId="{6715AA07-E748-4084-8B21-5B965068AB17}" destId="{31F2CE0C-5483-4268-8ADF-96D76841B135}" srcOrd="9" destOrd="0" presId="urn:microsoft.com/office/officeart/2005/8/layout/cycle2"/>
    <dgm:cxn modelId="{86C18482-3E69-4666-B53A-B79C55599F98}" type="presParOf" srcId="{31F2CE0C-5483-4268-8ADF-96D76841B135}" destId="{AA2C67FE-F057-41F3-9B73-9C975ED2A162}" srcOrd="0" destOrd="0" presId="urn:microsoft.com/office/officeart/2005/8/layout/cycle2"/>
    <dgm:cxn modelId="{C9AC869D-A717-43A9-A42D-A84DBAA59A13}" type="presParOf" srcId="{6715AA07-E748-4084-8B21-5B965068AB17}" destId="{20DF7171-6E8B-4FFF-B727-89A1BD2B3553}" srcOrd="10" destOrd="0" presId="urn:microsoft.com/office/officeart/2005/8/layout/cycle2"/>
    <dgm:cxn modelId="{83958808-62A9-4BF6-9BDD-52ED78A68042}" type="presParOf" srcId="{6715AA07-E748-4084-8B21-5B965068AB17}" destId="{3161D9C1-B646-4105-8D08-00A2E33414D1}" srcOrd="11" destOrd="0" presId="urn:microsoft.com/office/officeart/2005/8/layout/cycle2"/>
    <dgm:cxn modelId="{DD8F16A6-F45F-4B0F-9ADB-C398A18B69A4}" type="presParOf" srcId="{3161D9C1-B646-4105-8D08-00A2E33414D1}" destId="{51B8CD66-0079-4D74-A88A-16EFF9AC054A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59B5476-BD55-4043-BD4C-7945BAB9430E}" type="doc">
      <dgm:prSet loTypeId="urn:microsoft.com/office/officeart/2005/8/layout/vList3" loCatId="list" qsTypeId="urn:microsoft.com/office/officeart/2005/8/quickstyle/simple1" qsCatId="simple" csTypeId="urn:microsoft.com/office/officeart/2005/8/colors/colorful1" csCatId="colorful" phldr="1"/>
      <dgm:spPr/>
    </dgm:pt>
    <dgm:pt modelId="{2A4B2E6F-400B-4087-B72A-E089D86D09C9}">
      <dgm:prSet phldrT="[Texto]" custT="1"/>
      <dgm:spPr/>
      <dgm:t>
        <a:bodyPr/>
        <a:lstStyle/>
        <a:p>
          <a:r>
            <a:rPr lang="es-ES" sz="1600" b="1" dirty="0" smtClean="0">
              <a:solidFill>
                <a:srgbClr val="030F40"/>
              </a:solidFill>
              <a:latin typeface="Calibri" panose="020F0502020204030204" pitchFamily="34" charset="0"/>
            </a:rPr>
            <a:t>Auditorías energéticas y determinación del potencial de renovable</a:t>
          </a:r>
          <a:endParaRPr lang="es-ES" sz="1600" b="1" dirty="0">
            <a:solidFill>
              <a:srgbClr val="030F40"/>
            </a:solidFill>
            <a:latin typeface="Calibri" panose="020F0502020204030204" pitchFamily="34" charset="0"/>
          </a:endParaRPr>
        </a:p>
      </dgm:t>
    </dgm:pt>
    <dgm:pt modelId="{9840F8D1-3387-4C0D-ACB0-21B0AA4BFC65}" type="parTrans" cxnId="{82E631AF-37DE-484E-8244-ED0C4C0C7822}">
      <dgm:prSet/>
      <dgm:spPr/>
      <dgm:t>
        <a:bodyPr/>
        <a:lstStyle/>
        <a:p>
          <a:endParaRPr lang="es-ES" sz="1600">
            <a:latin typeface="Calibri" panose="020F0502020204030204" pitchFamily="34" charset="0"/>
          </a:endParaRPr>
        </a:p>
      </dgm:t>
    </dgm:pt>
    <dgm:pt modelId="{4ACB1A2B-12F8-4502-8B0E-C2D22E070541}" type="sibTrans" cxnId="{82E631AF-37DE-484E-8244-ED0C4C0C7822}">
      <dgm:prSet/>
      <dgm:spPr/>
      <dgm:t>
        <a:bodyPr/>
        <a:lstStyle/>
        <a:p>
          <a:endParaRPr lang="es-ES" sz="1600">
            <a:latin typeface="Calibri" panose="020F0502020204030204" pitchFamily="34" charset="0"/>
          </a:endParaRPr>
        </a:p>
      </dgm:t>
    </dgm:pt>
    <dgm:pt modelId="{FB17B007-9664-411B-8DA2-FBBD5C3B812C}">
      <dgm:prSet phldrT="[Texto]" custT="1"/>
      <dgm:spPr/>
      <dgm:t>
        <a:bodyPr/>
        <a:lstStyle/>
        <a:p>
          <a:r>
            <a:rPr lang="es-ES" sz="1600" b="1" dirty="0" smtClean="0">
              <a:solidFill>
                <a:srgbClr val="030F40"/>
              </a:solidFill>
              <a:latin typeface="Calibri" panose="020F0502020204030204" pitchFamily="34" charset="0"/>
            </a:rPr>
            <a:t>Energías renovables (SFV, Hidráulica): Proyectos llaves en mano </a:t>
          </a:r>
          <a:endParaRPr lang="es-ES" sz="1600" b="1" dirty="0">
            <a:solidFill>
              <a:srgbClr val="030F40"/>
            </a:solidFill>
            <a:latin typeface="Calibri" panose="020F0502020204030204" pitchFamily="34" charset="0"/>
          </a:endParaRPr>
        </a:p>
      </dgm:t>
    </dgm:pt>
    <dgm:pt modelId="{C54AA744-CEC0-48D3-A0F4-F2D93C117485}" type="parTrans" cxnId="{D57AF093-01F6-4B68-BBCB-C1CFE7B43E2A}">
      <dgm:prSet/>
      <dgm:spPr/>
      <dgm:t>
        <a:bodyPr/>
        <a:lstStyle/>
        <a:p>
          <a:endParaRPr lang="es-ES" sz="1600">
            <a:latin typeface="Calibri" panose="020F0502020204030204" pitchFamily="34" charset="0"/>
          </a:endParaRPr>
        </a:p>
      </dgm:t>
    </dgm:pt>
    <dgm:pt modelId="{2DAC2CB4-FBBB-41FF-8B81-32ABFACC2A42}" type="sibTrans" cxnId="{D57AF093-01F6-4B68-BBCB-C1CFE7B43E2A}">
      <dgm:prSet/>
      <dgm:spPr/>
      <dgm:t>
        <a:bodyPr/>
        <a:lstStyle/>
        <a:p>
          <a:endParaRPr lang="es-ES" sz="1600">
            <a:latin typeface="Calibri" panose="020F0502020204030204" pitchFamily="34" charset="0"/>
          </a:endParaRPr>
        </a:p>
      </dgm:t>
    </dgm:pt>
    <dgm:pt modelId="{A84EAACE-2297-486F-AF69-2CB1B5EBA96C}">
      <dgm:prSet phldrT="[Texto]" custT="1"/>
      <dgm:spPr/>
      <dgm:t>
        <a:bodyPr/>
        <a:lstStyle/>
        <a:p>
          <a:r>
            <a:rPr lang="es-ES" sz="1600" b="1" dirty="0" smtClean="0">
              <a:latin typeface="Calibri" panose="020F0502020204030204" pitchFamily="34" charset="0"/>
            </a:rPr>
            <a:t>Determinación de la huella de carbono</a:t>
          </a:r>
          <a:endParaRPr lang="es-ES" sz="1600" b="1" dirty="0">
            <a:latin typeface="Calibri" panose="020F0502020204030204" pitchFamily="34" charset="0"/>
          </a:endParaRPr>
        </a:p>
      </dgm:t>
    </dgm:pt>
    <dgm:pt modelId="{966B963B-B04F-430F-A72A-504B0BBE2B13}" type="parTrans" cxnId="{509D899A-1833-4569-94DC-8BF8BB57C072}">
      <dgm:prSet/>
      <dgm:spPr/>
      <dgm:t>
        <a:bodyPr/>
        <a:lstStyle/>
        <a:p>
          <a:endParaRPr lang="es-ES" sz="1600">
            <a:latin typeface="Calibri" panose="020F0502020204030204" pitchFamily="34" charset="0"/>
          </a:endParaRPr>
        </a:p>
      </dgm:t>
    </dgm:pt>
    <dgm:pt modelId="{87F57C6C-2BDB-4BF6-AAF2-24769787FC59}" type="sibTrans" cxnId="{509D899A-1833-4569-94DC-8BF8BB57C072}">
      <dgm:prSet/>
      <dgm:spPr/>
      <dgm:t>
        <a:bodyPr/>
        <a:lstStyle/>
        <a:p>
          <a:endParaRPr lang="es-ES" sz="1600">
            <a:latin typeface="Calibri" panose="020F0502020204030204" pitchFamily="34" charset="0"/>
          </a:endParaRPr>
        </a:p>
      </dgm:t>
    </dgm:pt>
    <dgm:pt modelId="{2636EF04-0DFC-4EB8-A550-3DE379612B96}">
      <dgm:prSet phldrT="[Texto]" custT="1"/>
      <dgm:spPr/>
      <dgm:t>
        <a:bodyPr/>
        <a:lstStyle/>
        <a:p>
          <a:pPr>
            <a:tabLst>
              <a:tab pos="2238375" algn="l"/>
              <a:tab pos="2695575" algn="l"/>
            </a:tabLst>
          </a:pPr>
          <a:endParaRPr lang="es-ES" sz="1600" dirty="0">
            <a:solidFill>
              <a:srgbClr val="030F40"/>
            </a:solidFill>
            <a:latin typeface="Calibri" panose="020F0502020204030204" pitchFamily="34" charset="0"/>
          </a:endParaRPr>
        </a:p>
      </dgm:t>
    </dgm:pt>
    <dgm:pt modelId="{EA94AF84-3E0D-4853-9E6A-0009F4729F21}" type="parTrans" cxnId="{DC88FB14-3C12-45EA-9317-0B1A628B3065}">
      <dgm:prSet/>
      <dgm:spPr/>
      <dgm:t>
        <a:bodyPr/>
        <a:lstStyle/>
        <a:p>
          <a:endParaRPr lang="es-ES" sz="1600">
            <a:latin typeface="Calibri" panose="020F0502020204030204" pitchFamily="34" charset="0"/>
          </a:endParaRPr>
        </a:p>
      </dgm:t>
    </dgm:pt>
    <dgm:pt modelId="{D59A8829-D1C5-46EC-BD24-E7027394901E}" type="sibTrans" cxnId="{DC88FB14-3C12-45EA-9317-0B1A628B3065}">
      <dgm:prSet/>
      <dgm:spPr/>
      <dgm:t>
        <a:bodyPr/>
        <a:lstStyle/>
        <a:p>
          <a:endParaRPr lang="es-ES" sz="1600">
            <a:latin typeface="Calibri" panose="020F0502020204030204" pitchFamily="34" charset="0"/>
          </a:endParaRPr>
        </a:p>
      </dgm:t>
    </dgm:pt>
    <dgm:pt modelId="{9C87FD58-5F24-43F2-88CD-C565F0F8D9CD}">
      <dgm:prSet phldrT="[Texto]" custT="1"/>
      <dgm:spPr/>
      <dgm:t>
        <a:bodyPr/>
        <a:lstStyle/>
        <a:p>
          <a:r>
            <a:rPr lang="es-ES" sz="1600" b="1" dirty="0" smtClean="0">
              <a:solidFill>
                <a:srgbClr val="030F40"/>
              </a:solidFill>
              <a:latin typeface="Calibri" panose="020F0502020204030204" pitchFamily="34" charset="0"/>
            </a:rPr>
            <a:t>Proyectos energéticos</a:t>
          </a:r>
          <a:endParaRPr lang="es-ES" sz="1600" b="1" dirty="0">
            <a:solidFill>
              <a:srgbClr val="030F40"/>
            </a:solidFill>
            <a:latin typeface="Calibri" panose="020F0502020204030204" pitchFamily="34" charset="0"/>
          </a:endParaRPr>
        </a:p>
      </dgm:t>
    </dgm:pt>
    <dgm:pt modelId="{8F69CC5E-45CD-4D03-ACA7-385533EB7537}" type="parTrans" cxnId="{7CCEE4D9-8D22-49B6-BBFB-5C57A4424C9F}">
      <dgm:prSet/>
      <dgm:spPr/>
      <dgm:t>
        <a:bodyPr/>
        <a:lstStyle/>
        <a:p>
          <a:endParaRPr lang="es-ES" sz="1600">
            <a:latin typeface="Calibri" panose="020F0502020204030204" pitchFamily="34" charset="0"/>
          </a:endParaRPr>
        </a:p>
      </dgm:t>
    </dgm:pt>
    <dgm:pt modelId="{97A14298-61A2-4161-B213-417E34B1766F}" type="sibTrans" cxnId="{7CCEE4D9-8D22-49B6-BBFB-5C57A4424C9F}">
      <dgm:prSet/>
      <dgm:spPr/>
      <dgm:t>
        <a:bodyPr/>
        <a:lstStyle/>
        <a:p>
          <a:endParaRPr lang="es-ES" sz="1600">
            <a:latin typeface="Calibri" panose="020F0502020204030204" pitchFamily="34" charset="0"/>
          </a:endParaRPr>
        </a:p>
      </dgm:t>
    </dgm:pt>
    <dgm:pt modelId="{930CC2A9-FD77-406E-9089-52FD4A74EA38}" type="pres">
      <dgm:prSet presAssocID="{659B5476-BD55-4043-BD4C-7945BAB9430E}" presName="linearFlow" presStyleCnt="0">
        <dgm:presLayoutVars>
          <dgm:dir/>
          <dgm:resizeHandles val="exact"/>
        </dgm:presLayoutVars>
      </dgm:prSet>
      <dgm:spPr/>
    </dgm:pt>
    <dgm:pt modelId="{3456A594-0D6A-48C0-87B2-2F766E84EFDA}" type="pres">
      <dgm:prSet presAssocID="{2A4B2E6F-400B-4087-B72A-E089D86D09C9}" presName="composite" presStyleCnt="0"/>
      <dgm:spPr/>
    </dgm:pt>
    <dgm:pt modelId="{064A6A9E-89BD-4A76-A10B-A92ACFB82D0A}" type="pres">
      <dgm:prSet presAssocID="{2A4B2E6F-400B-4087-B72A-E089D86D09C9}" presName="imgShp" presStyleLbl="fgImgPlace1" presStyleIdx="0" presStyleCnt="5"/>
      <dgm:spPr/>
    </dgm:pt>
    <dgm:pt modelId="{0C6D6E54-D345-4C82-BFA9-948E99788352}" type="pres">
      <dgm:prSet presAssocID="{2A4B2E6F-400B-4087-B72A-E089D86D09C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EDEB649-99B1-4588-8B37-361503380EA4}" type="pres">
      <dgm:prSet presAssocID="{4ACB1A2B-12F8-4502-8B0E-C2D22E070541}" presName="spacing" presStyleCnt="0"/>
      <dgm:spPr/>
    </dgm:pt>
    <dgm:pt modelId="{DA704682-099D-49C6-8BC8-54260905CBB7}" type="pres">
      <dgm:prSet presAssocID="{FB17B007-9664-411B-8DA2-FBBD5C3B812C}" presName="composite" presStyleCnt="0"/>
      <dgm:spPr/>
    </dgm:pt>
    <dgm:pt modelId="{45AA19DB-A762-42DE-9873-873D228EE21E}" type="pres">
      <dgm:prSet presAssocID="{FB17B007-9664-411B-8DA2-FBBD5C3B812C}" presName="imgShp" presStyleLbl="fgImgPlace1" presStyleIdx="1" presStyleCnt="5"/>
      <dgm:spPr/>
    </dgm:pt>
    <dgm:pt modelId="{6E38B206-E27F-494A-8F5B-FBFD02A9A68E}" type="pres">
      <dgm:prSet presAssocID="{FB17B007-9664-411B-8DA2-FBBD5C3B812C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32A74BF-826D-4CE5-80E0-DBEADAD1A2EF}" type="pres">
      <dgm:prSet presAssocID="{2DAC2CB4-FBBB-41FF-8B81-32ABFACC2A42}" presName="spacing" presStyleCnt="0"/>
      <dgm:spPr/>
    </dgm:pt>
    <dgm:pt modelId="{DA85CB44-4E7B-44AD-B466-3146450C197D}" type="pres">
      <dgm:prSet presAssocID="{2636EF04-0DFC-4EB8-A550-3DE379612B96}" presName="composite" presStyleCnt="0"/>
      <dgm:spPr/>
    </dgm:pt>
    <dgm:pt modelId="{1DE3BF96-ECF1-4FE2-95A3-1DB7A0954344}" type="pres">
      <dgm:prSet presAssocID="{2636EF04-0DFC-4EB8-A550-3DE379612B96}" presName="imgShp" presStyleLbl="fgImgPlace1" presStyleIdx="2" presStyleCnt="5"/>
      <dgm:spPr/>
    </dgm:pt>
    <dgm:pt modelId="{0E9EB0F3-DE75-43D8-952D-57152B27ECFC}" type="pres">
      <dgm:prSet presAssocID="{2636EF04-0DFC-4EB8-A550-3DE379612B96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DA263DB-1BCD-4449-B2E3-ABED9188EBD5}" type="pres">
      <dgm:prSet presAssocID="{D59A8829-D1C5-46EC-BD24-E7027394901E}" presName="spacing" presStyleCnt="0"/>
      <dgm:spPr/>
    </dgm:pt>
    <dgm:pt modelId="{11A13ACA-74DF-47A7-AF80-1EBF84590865}" type="pres">
      <dgm:prSet presAssocID="{A84EAACE-2297-486F-AF69-2CB1B5EBA96C}" presName="composite" presStyleCnt="0"/>
      <dgm:spPr/>
    </dgm:pt>
    <dgm:pt modelId="{585F065C-DF57-4B2C-9C9C-AF90D29FBE63}" type="pres">
      <dgm:prSet presAssocID="{A84EAACE-2297-486F-AF69-2CB1B5EBA96C}" presName="imgShp" presStyleLbl="fgImgPlace1" presStyleIdx="3" presStyleCnt="5"/>
      <dgm:spPr/>
    </dgm:pt>
    <dgm:pt modelId="{D1595CF4-5974-4F60-B596-F68C5A378B30}" type="pres">
      <dgm:prSet presAssocID="{A84EAACE-2297-486F-AF69-2CB1B5EBA96C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B7A6533-0F51-48F7-9E9F-41AE3C08191A}" type="pres">
      <dgm:prSet presAssocID="{87F57C6C-2BDB-4BF6-AAF2-24769787FC59}" presName="spacing" presStyleCnt="0"/>
      <dgm:spPr/>
    </dgm:pt>
    <dgm:pt modelId="{8DE7F762-0843-43A2-9BFC-29F17E48A86A}" type="pres">
      <dgm:prSet presAssocID="{9C87FD58-5F24-43F2-88CD-C565F0F8D9CD}" presName="composite" presStyleCnt="0"/>
      <dgm:spPr/>
    </dgm:pt>
    <dgm:pt modelId="{6DCC7F15-A403-4B83-9936-7A023F7FB417}" type="pres">
      <dgm:prSet presAssocID="{9C87FD58-5F24-43F2-88CD-C565F0F8D9CD}" presName="imgShp" presStyleLbl="fgImgPlace1" presStyleIdx="4" presStyleCnt="5"/>
      <dgm:spPr/>
    </dgm:pt>
    <dgm:pt modelId="{ADD77A23-D382-4EAA-984B-D66DE4747BB7}" type="pres">
      <dgm:prSet presAssocID="{9C87FD58-5F24-43F2-88CD-C565F0F8D9CD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2E631AF-37DE-484E-8244-ED0C4C0C7822}" srcId="{659B5476-BD55-4043-BD4C-7945BAB9430E}" destId="{2A4B2E6F-400B-4087-B72A-E089D86D09C9}" srcOrd="0" destOrd="0" parTransId="{9840F8D1-3387-4C0D-ACB0-21B0AA4BFC65}" sibTransId="{4ACB1A2B-12F8-4502-8B0E-C2D22E070541}"/>
    <dgm:cxn modelId="{74E073DE-E012-476C-8F08-203E5ED807C8}" type="presOf" srcId="{FB17B007-9664-411B-8DA2-FBBD5C3B812C}" destId="{6E38B206-E27F-494A-8F5B-FBFD02A9A68E}" srcOrd="0" destOrd="0" presId="urn:microsoft.com/office/officeart/2005/8/layout/vList3"/>
    <dgm:cxn modelId="{0336CFBB-1B79-4506-AC07-74A7243B57F6}" type="presOf" srcId="{659B5476-BD55-4043-BD4C-7945BAB9430E}" destId="{930CC2A9-FD77-406E-9089-52FD4A74EA38}" srcOrd="0" destOrd="0" presId="urn:microsoft.com/office/officeart/2005/8/layout/vList3"/>
    <dgm:cxn modelId="{93E3AE1F-DDC1-4BBA-8670-13BD86EA0B4F}" type="presOf" srcId="{A84EAACE-2297-486F-AF69-2CB1B5EBA96C}" destId="{D1595CF4-5974-4F60-B596-F68C5A378B30}" srcOrd="0" destOrd="0" presId="urn:microsoft.com/office/officeart/2005/8/layout/vList3"/>
    <dgm:cxn modelId="{DC88FB14-3C12-45EA-9317-0B1A628B3065}" srcId="{659B5476-BD55-4043-BD4C-7945BAB9430E}" destId="{2636EF04-0DFC-4EB8-A550-3DE379612B96}" srcOrd="2" destOrd="0" parTransId="{EA94AF84-3E0D-4853-9E6A-0009F4729F21}" sibTransId="{D59A8829-D1C5-46EC-BD24-E7027394901E}"/>
    <dgm:cxn modelId="{7CCEE4D9-8D22-49B6-BBFB-5C57A4424C9F}" srcId="{659B5476-BD55-4043-BD4C-7945BAB9430E}" destId="{9C87FD58-5F24-43F2-88CD-C565F0F8D9CD}" srcOrd="4" destOrd="0" parTransId="{8F69CC5E-45CD-4D03-ACA7-385533EB7537}" sibTransId="{97A14298-61A2-4161-B213-417E34B1766F}"/>
    <dgm:cxn modelId="{8C73F106-DF56-46EC-ACC4-7774831EAFA9}" type="presOf" srcId="{2636EF04-0DFC-4EB8-A550-3DE379612B96}" destId="{0E9EB0F3-DE75-43D8-952D-57152B27ECFC}" srcOrd="0" destOrd="0" presId="urn:microsoft.com/office/officeart/2005/8/layout/vList3"/>
    <dgm:cxn modelId="{509D899A-1833-4569-94DC-8BF8BB57C072}" srcId="{659B5476-BD55-4043-BD4C-7945BAB9430E}" destId="{A84EAACE-2297-486F-AF69-2CB1B5EBA96C}" srcOrd="3" destOrd="0" parTransId="{966B963B-B04F-430F-A72A-504B0BBE2B13}" sibTransId="{87F57C6C-2BDB-4BF6-AAF2-24769787FC59}"/>
    <dgm:cxn modelId="{857BB776-5DF1-4A29-81D6-C05F1C43FDD6}" type="presOf" srcId="{9C87FD58-5F24-43F2-88CD-C565F0F8D9CD}" destId="{ADD77A23-D382-4EAA-984B-D66DE4747BB7}" srcOrd="0" destOrd="0" presId="urn:microsoft.com/office/officeart/2005/8/layout/vList3"/>
    <dgm:cxn modelId="{55C37B0F-6F37-48C4-8BE8-D888EF1E299C}" type="presOf" srcId="{2A4B2E6F-400B-4087-B72A-E089D86D09C9}" destId="{0C6D6E54-D345-4C82-BFA9-948E99788352}" srcOrd="0" destOrd="0" presId="urn:microsoft.com/office/officeart/2005/8/layout/vList3"/>
    <dgm:cxn modelId="{D57AF093-01F6-4B68-BBCB-C1CFE7B43E2A}" srcId="{659B5476-BD55-4043-BD4C-7945BAB9430E}" destId="{FB17B007-9664-411B-8DA2-FBBD5C3B812C}" srcOrd="1" destOrd="0" parTransId="{C54AA744-CEC0-48D3-A0F4-F2D93C117485}" sibTransId="{2DAC2CB4-FBBB-41FF-8B81-32ABFACC2A42}"/>
    <dgm:cxn modelId="{829663E4-FA8B-4709-A0C4-3F9F8125D147}" type="presParOf" srcId="{930CC2A9-FD77-406E-9089-52FD4A74EA38}" destId="{3456A594-0D6A-48C0-87B2-2F766E84EFDA}" srcOrd="0" destOrd="0" presId="urn:microsoft.com/office/officeart/2005/8/layout/vList3"/>
    <dgm:cxn modelId="{6119464F-4BDA-4CF9-9CC3-4B9AB3D6E7C0}" type="presParOf" srcId="{3456A594-0D6A-48C0-87B2-2F766E84EFDA}" destId="{064A6A9E-89BD-4A76-A10B-A92ACFB82D0A}" srcOrd="0" destOrd="0" presId="urn:microsoft.com/office/officeart/2005/8/layout/vList3"/>
    <dgm:cxn modelId="{D987241F-779F-4C55-B53C-649547727867}" type="presParOf" srcId="{3456A594-0D6A-48C0-87B2-2F766E84EFDA}" destId="{0C6D6E54-D345-4C82-BFA9-948E99788352}" srcOrd="1" destOrd="0" presId="urn:microsoft.com/office/officeart/2005/8/layout/vList3"/>
    <dgm:cxn modelId="{34D05F02-30D7-48CC-89F9-BD41BAAD6CB5}" type="presParOf" srcId="{930CC2A9-FD77-406E-9089-52FD4A74EA38}" destId="{FEDEB649-99B1-4588-8B37-361503380EA4}" srcOrd="1" destOrd="0" presId="urn:microsoft.com/office/officeart/2005/8/layout/vList3"/>
    <dgm:cxn modelId="{C2668A8E-D04E-4293-94BC-827FC597D2B8}" type="presParOf" srcId="{930CC2A9-FD77-406E-9089-52FD4A74EA38}" destId="{DA704682-099D-49C6-8BC8-54260905CBB7}" srcOrd="2" destOrd="0" presId="urn:microsoft.com/office/officeart/2005/8/layout/vList3"/>
    <dgm:cxn modelId="{5A6D83FC-112C-4CCC-BD6C-A2E95E1654A0}" type="presParOf" srcId="{DA704682-099D-49C6-8BC8-54260905CBB7}" destId="{45AA19DB-A762-42DE-9873-873D228EE21E}" srcOrd="0" destOrd="0" presId="urn:microsoft.com/office/officeart/2005/8/layout/vList3"/>
    <dgm:cxn modelId="{0954E9D0-A3B0-451E-9A5E-B861D256C46C}" type="presParOf" srcId="{DA704682-099D-49C6-8BC8-54260905CBB7}" destId="{6E38B206-E27F-494A-8F5B-FBFD02A9A68E}" srcOrd="1" destOrd="0" presId="urn:microsoft.com/office/officeart/2005/8/layout/vList3"/>
    <dgm:cxn modelId="{935A62C0-0C33-451D-8633-2DAF937D347A}" type="presParOf" srcId="{930CC2A9-FD77-406E-9089-52FD4A74EA38}" destId="{C32A74BF-826D-4CE5-80E0-DBEADAD1A2EF}" srcOrd="3" destOrd="0" presId="urn:microsoft.com/office/officeart/2005/8/layout/vList3"/>
    <dgm:cxn modelId="{851820AF-4A51-464E-89F6-153135CCD08B}" type="presParOf" srcId="{930CC2A9-FD77-406E-9089-52FD4A74EA38}" destId="{DA85CB44-4E7B-44AD-B466-3146450C197D}" srcOrd="4" destOrd="0" presId="urn:microsoft.com/office/officeart/2005/8/layout/vList3"/>
    <dgm:cxn modelId="{C583F247-0A4A-4542-9A31-A0021F48B31D}" type="presParOf" srcId="{DA85CB44-4E7B-44AD-B466-3146450C197D}" destId="{1DE3BF96-ECF1-4FE2-95A3-1DB7A0954344}" srcOrd="0" destOrd="0" presId="urn:microsoft.com/office/officeart/2005/8/layout/vList3"/>
    <dgm:cxn modelId="{50F46048-70BC-4DE2-881F-3A8A518C831C}" type="presParOf" srcId="{DA85CB44-4E7B-44AD-B466-3146450C197D}" destId="{0E9EB0F3-DE75-43D8-952D-57152B27ECFC}" srcOrd="1" destOrd="0" presId="urn:microsoft.com/office/officeart/2005/8/layout/vList3"/>
    <dgm:cxn modelId="{6160BEAE-E371-44E1-9AAB-5F3D94D4B328}" type="presParOf" srcId="{930CC2A9-FD77-406E-9089-52FD4A74EA38}" destId="{5DA263DB-1BCD-4449-B2E3-ABED9188EBD5}" srcOrd="5" destOrd="0" presId="urn:microsoft.com/office/officeart/2005/8/layout/vList3"/>
    <dgm:cxn modelId="{2EC0CB34-9E86-41A7-B45C-FDA6E10F37DC}" type="presParOf" srcId="{930CC2A9-FD77-406E-9089-52FD4A74EA38}" destId="{11A13ACA-74DF-47A7-AF80-1EBF84590865}" srcOrd="6" destOrd="0" presId="urn:microsoft.com/office/officeart/2005/8/layout/vList3"/>
    <dgm:cxn modelId="{AAB64C5C-3759-43DC-837B-1F456E8F62DA}" type="presParOf" srcId="{11A13ACA-74DF-47A7-AF80-1EBF84590865}" destId="{585F065C-DF57-4B2C-9C9C-AF90D29FBE63}" srcOrd="0" destOrd="0" presId="urn:microsoft.com/office/officeart/2005/8/layout/vList3"/>
    <dgm:cxn modelId="{FA11FBDA-43B1-429C-AC7A-D5B0C89B649C}" type="presParOf" srcId="{11A13ACA-74DF-47A7-AF80-1EBF84590865}" destId="{D1595CF4-5974-4F60-B596-F68C5A378B30}" srcOrd="1" destOrd="0" presId="urn:microsoft.com/office/officeart/2005/8/layout/vList3"/>
    <dgm:cxn modelId="{1C327AD5-4877-4CDC-88DB-FDAF142A9C62}" type="presParOf" srcId="{930CC2A9-FD77-406E-9089-52FD4A74EA38}" destId="{7B7A6533-0F51-48F7-9E9F-41AE3C08191A}" srcOrd="7" destOrd="0" presId="urn:microsoft.com/office/officeart/2005/8/layout/vList3"/>
    <dgm:cxn modelId="{30064AAC-277C-4AAD-B809-CFACDF100B9C}" type="presParOf" srcId="{930CC2A9-FD77-406E-9089-52FD4A74EA38}" destId="{8DE7F762-0843-43A2-9BFC-29F17E48A86A}" srcOrd="8" destOrd="0" presId="urn:microsoft.com/office/officeart/2005/8/layout/vList3"/>
    <dgm:cxn modelId="{2E08ECA6-4F92-48ED-9FC4-002C964388B9}" type="presParOf" srcId="{8DE7F762-0843-43A2-9BFC-29F17E48A86A}" destId="{6DCC7F15-A403-4B83-9936-7A023F7FB417}" srcOrd="0" destOrd="0" presId="urn:microsoft.com/office/officeart/2005/8/layout/vList3"/>
    <dgm:cxn modelId="{0C57EC3B-7231-48CA-9169-13E51BB27DB5}" type="presParOf" srcId="{8DE7F762-0843-43A2-9BFC-29F17E48A86A}" destId="{ADD77A23-D382-4EAA-984B-D66DE4747BB7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E6B4CC-D8E6-4DDB-BE21-99AF771365CD}" type="doc">
      <dgm:prSet loTypeId="urn:microsoft.com/office/officeart/2005/8/layout/pyramid1" loCatId="pyramid" qsTypeId="urn:microsoft.com/office/officeart/2005/8/quickstyle/simple1" qsCatId="simple" csTypeId="urn:microsoft.com/office/officeart/2005/8/colors/colorful1" csCatId="colorful" phldr="1"/>
      <dgm:spPr/>
    </dgm:pt>
    <dgm:pt modelId="{8CBAB2A9-62D4-4140-9334-7FFF64FC9E4D}">
      <dgm:prSet phldrT="[Texto]" custT="1"/>
      <dgm:spPr/>
      <dgm:t>
        <a:bodyPr/>
        <a:lstStyle/>
        <a:p>
          <a:r>
            <a:rPr lang="es-ES" sz="1200" b="1" dirty="0" smtClean="0">
              <a:latin typeface="Calibri" panose="020F0502020204030204" pitchFamily="34" charset="0"/>
            </a:rPr>
            <a:t>Sistemas de Información</a:t>
          </a:r>
          <a:endParaRPr lang="es-ES" sz="1200" b="1" dirty="0">
            <a:latin typeface="Calibri" panose="020F0502020204030204" pitchFamily="34" charset="0"/>
          </a:endParaRPr>
        </a:p>
      </dgm:t>
    </dgm:pt>
    <dgm:pt modelId="{6292CD4E-D6AF-4ADB-A8FC-393A8F3CDFB1}" type="parTrans" cxnId="{89076D33-42F0-46CB-AC2C-E58DBB3F37BE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A14F0D0A-DD03-4CC4-B7C1-67FE126E702B}" type="sibTrans" cxnId="{89076D33-42F0-46CB-AC2C-E58DBB3F37BE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DF62B40D-07A9-4E60-BDA4-8599829770B6}">
      <dgm:prSet phldrT="[Texto]" custT="1"/>
      <dgm:spPr/>
      <dgm:t>
        <a:bodyPr/>
        <a:lstStyle/>
        <a:p>
          <a:r>
            <a:rPr lang="es-ES" sz="1400" b="1" dirty="0" smtClean="0">
              <a:latin typeface="Calibri" panose="020F0502020204030204" pitchFamily="34" charset="0"/>
            </a:rPr>
            <a:t>Parcela</a:t>
          </a:r>
          <a:endParaRPr lang="es-ES" sz="1400" b="1" dirty="0">
            <a:latin typeface="Calibri" panose="020F0502020204030204" pitchFamily="34" charset="0"/>
          </a:endParaRPr>
        </a:p>
      </dgm:t>
    </dgm:pt>
    <dgm:pt modelId="{4ADC75D8-CA76-4F4D-A9B4-A70909A8E652}" type="parTrans" cxnId="{3C9BB38C-9595-4298-829D-C88AECC93DD1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96FE679B-3AD2-4441-99AC-D4C6E209515C}" type="sibTrans" cxnId="{3C9BB38C-9595-4298-829D-C88AECC93DD1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82243BCF-632C-4242-A50A-0C8FFFE3A233}">
      <dgm:prSet phldrT="[Texto]" custT="1"/>
      <dgm:spPr/>
      <dgm:t>
        <a:bodyPr/>
        <a:lstStyle/>
        <a:p>
          <a:r>
            <a:rPr lang="es-ES" sz="1400" b="1" dirty="0" smtClean="0">
              <a:latin typeface="Calibri" panose="020F0502020204030204" pitchFamily="34" charset="0"/>
            </a:rPr>
            <a:t>Red de hidrantes</a:t>
          </a:r>
          <a:endParaRPr lang="es-ES" sz="1400" b="1" dirty="0">
            <a:latin typeface="Calibri" panose="020F0502020204030204" pitchFamily="34" charset="0"/>
          </a:endParaRPr>
        </a:p>
      </dgm:t>
    </dgm:pt>
    <dgm:pt modelId="{B63054A9-E410-4383-B60D-4C6D3890B348}" type="parTrans" cxnId="{E168CD0D-AC33-4112-A0B7-16E9DC3D3B6E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4B926DCF-B85F-40C0-AF24-F14DEE0DED0C}" type="sibTrans" cxnId="{E168CD0D-AC33-4112-A0B7-16E9DC3D3B6E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782AE783-C789-49AA-B262-70240B0F4659}">
      <dgm:prSet phldrT="[Texto]" custT="1"/>
      <dgm:spPr/>
      <dgm:t>
        <a:bodyPr/>
        <a:lstStyle/>
        <a:p>
          <a:r>
            <a:rPr lang="es-ES" sz="1400" b="1" dirty="0" smtClean="0">
              <a:solidFill>
                <a:schemeClr val="bg1"/>
              </a:solidFill>
              <a:latin typeface="Calibri" panose="020F0502020204030204" pitchFamily="34" charset="0"/>
            </a:rPr>
            <a:t>Bombeos</a:t>
          </a:r>
          <a:endParaRPr lang="es-ES" sz="1400" b="1" dirty="0">
            <a:solidFill>
              <a:schemeClr val="bg1"/>
            </a:solidFill>
            <a:latin typeface="Calibri" panose="020F0502020204030204" pitchFamily="34" charset="0"/>
          </a:endParaRPr>
        </a:p>
      </dgm:t>
    </dgm:pt>
    <dgm:pt modelId="{82FF2029-9E33-4F66-9C54-9B981CF31B41}" type="parTrans" cxnId="{C745FAF1-10EC-467E-A57C-8D47E3A03525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E0A31238-E03B-4F0E-AB9D-35A0E74AF725}" type="sibTrans" cxnId="{C745FAF1-10EC-467E-A57C-8D47E3A03525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51B01FB9-E5BA-45E4-967D-5DD727C9550E}">
      <dgm:prSet phldrT="[Texto]" custT="1"/>
      <dgm:spPr/>
      <dgm:t>
        <a:bodyPr/>
        <a:lstStyle/>
        <a:p>
          <a:r>
            <a:rPr lang="es-ES" sz="1400" b="1" dirty="0" smtClean="0">
              <a:latin typeface="Calibri" panose="020F0502020204030204" pitchFamily="34" charset="0"/>
            </a:rPr>
            <a:t>Balsas de riego</a:t>
          </a:r>
          <a:endParaRPr lang="es-ES" sz="1400" b="1" dirty="0">
            <a:latin typeface="Calibri" panose="020F0502020204030204" pitchFamily="34" charset="0"/>
          </a:endParaRPr>
        </a:p>
      </dgm:t>
    </dgm:pt>
    <dgm:pt modelId="{103C03A2-825F-4C58-B81D-B4E2BC5D226E}" type="parTrans" cxnId="{99E15A7D-541E-4779-BCD9-400DF420A906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DDBE0D2A-49FD-4420-AAF3-F6C15383368E}" type="sibTrans" cxnId="{99E15A7D-541E-4779-BCD9-400DF420A906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12323273-939E-483A-B219-8534E6E4E1DF}" type="pres">
      <dgm:prSet presAssocID="{00E6B4CC-D8E6-4DDB-BE21-99AF771365CD}" presName="Name0" presStyleCnt="0">
        <dgm:presLayoutVars>
          <dgm:dir/>
          <dgm:animLvl val="lvl"/>
          <dgm:resizeHandles val="exact"/>
        </dgm:presLayoutVars>
      </dgm:prSet>
      <dgm:spPr/>
    </dgm:pt>
    <dgm:pt modelId="{A5ACA85F-9099-4186-AE6A-12529269C83D}" type="pres">
      <dgm:prSet presAssocID="{8CBAB2A9-62D4-4140-9334-7FFF64FC9E4D}" presName="Name8" presStyleCnt="0"/>
      <dgm:spPr/>
    </dgm:pt>
    <dgm:pt modelId="{08D12FF2-1F62-4E46-A736-B5D3281B89BA}" type="pres">
      <dgm:prSet presAssocID="{8CBAB2A9-62D4-4140-9334-7FFF64FC9E4D}" presName="level" presStyleLbl="node1" presStyleIdx="0" presStyleCnt="5" custScaleX="102701" custLinFactNeighborY="-4072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AA4409F-2BA7-48C4-BE62-DE338CC8A580}" type="pres">
      <dgm:prSet presAssocID="{8CBAB2A9-62D4-4140-9334-7FFF64FC9E4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4C08322-FE04-48B7-8F19-B038466461BB}" type="pres">
      <dgm:prSet presAssocID="{DF62B40D-07A9-4E60-BDA4-8599829770B6}" presName="Name8" presStyleCnt="0"/>
      <dgm:spPr/>
    </dgm:pt>
    <dgm:pt modelId="{C9A23C61-6A0D-47BC-ADF6-84BC5F63BF73}" type="pres">
      <dgm:prSet presAssocID="{DF62B40D-07A9-4E60-BDA4-8599829770B6}" presName="level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E2D1D27-C650-4AB9-AC6A-705C1312545B}" type="pres">
      <dgm:prSet presAssocID="{DF62B40D-07A9-4E60-BDA4-8599829770B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6DC317B-A7A9-45E6-A16C-524C9D5ACF61}" type="pres">
      <dgm:prSet presAssocID="{82243BCF-632C-4242-A50A-0C8FFFE3A233}" presName="Name8" presStyleCnt="0"/>
      <dgm:spPr/>
    </dgm:pt>
    <dgm:pt modelId="{73249515-C3E6-4437-A3C5-90B5962B9670}" type="pres">
      <dgm:prSet presAssocID="{82243BCF-632C-4242-A50A-0C8FFFE3A233}" presName="level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EF077F6-76A7-4891-94DD-D9684CED13BB}" type="pres">
      <dgm:prSet presAssocID="{82243BCF-632C-4242-A50A-0C8FFFE3A23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149DE40-7AC3-4BB3-9566-286308C8758C}" type="pres">
      <dgm:prSet presAssocID="{782AE783-C789-49AA-B262-70240B0F4659}" presName="Name8" presStyleCnt="0"/>
      <dgm:spPr/>
    </dgm:pt>
    <dgm:pt modelId="{93023DCC-47AC-468F-9B51-B63AB7C0B9E9}" type="pres">
      <dgm:prSet presAssocID="{782AE783-C789-49AA-B262-70240B0F4659}" presName="level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3D7F8B0-16E9-4784-994F-028805C07FCD}" type="pres">
      <dgm:prSet presAssocID="{782AE783-C789-49AA-B262-70240B0F465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09D4366-691B-4D84-AFC3-043D00A5B10D}" type="pres">
      <dgm:prSet presAssocID="{51B01FB9-E5BA-45E4-967D-5DD727C9550E}" presName="Name8" presStyleCnt="0"/>
      <dgm:spPr/>
    </dgm:pt>
    <dgm:pt modelId="{2ACF7852-B0EC-45FB-A10F-30069266F854}" type="pres">
      <dgm:prSet presAssocID="{51B01FB9-E5BA-45E4-967D-5DD727C9550E}" presName="level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09BACD8-7080-4A20-89AC-CEF50D786B04}" type="pres">
      <dgm:prSet presAssocID="{51B01FB9-E5BA-45E4-967D-5DD727C9550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0FDE7C2A-FC6A-457D-9380-B12FAEC0DF60}" type="presOf" srcId="{782AE783-C789-49AA-B262-70240B0F4659}" destId="{A3D7F8B0-16E9-4784-994F-028805C07FCD}" srcOrd="1" destOrd="0" presId="urn:microsoft.com/office/officeart/2005/8/layout/pyramid1"/>
    <dgm:cxn modelId="{CA475684-9217-44C3-9540-53B669F01C2F}" type="presOf" srcId="{782AE783-C789-49AA-B262-70240B0F4659}" destId="{93023DCC-47AC-468F-9B51-B63AB7C0B9E9}" srcOrd="0" destOrd="0" presId="urn:microsoft.com/office/officeart/2005/8/layout/pyramid1"/>
    <dgm:cxn modelId="{60592592-42DE-4152-92F8-2F8DBBBE1739}" type="presOf" srcId="{8CBAB2A9-62D4-4140-9334-7FFF64FC9E4D}" destId="{7AA4409F-2BA7-48C4-BE62-DE338CC8A580}" srcOrd="1" destOrd="0" presId="urn:microsoft.com/office/officeart/2005/8/layout/pyramid1"/>
    <dgm:cxn modelId="{99E15A7D-541E-4779-BCD9-400DF420A906}" srcId="{00E6B4CC-D8E6-4DDB-BE21-99AF771365CD}" destId="{51B01FB9-E5BA-45E4-967D-5DD727C9550E}" srcOrd="4" destOrd="0" parTransId="{103C03A2-825F-4C58-B81D-B4E2BC5D226E}" sibTransId="{DDBE0D2A-49FD-4420-AAF3-F6C15383368E}"/>
    <dgm:cxn modelId="{3C9BB38C-9595-4298-829D-C88AECC93DD1}" srcId="{00E6B4CC-D8E6-4DDB-BE21-99AF771365CD}" destId="{DF62B40D-07A9-4E60-BDA4-8599829770B6}" srcOrd="1" destOrd="0" parTransId="{4ADC75D8-CA76-4F4D-A9B4-A70909A8E652}" sibTransId="{96FE679B-3AD2-4441-99AC-D4C6E209515C}"/>
    <dgm:cxn modelId="{89076D33-42F0-46CB-AC2C-E58DBB3F37BE}" srcId="{00E6B4CC-D8E6-4DDB-BE21-99AF771365CD}" destId="{8CBAB2A9-62D4-4140-9334-7FFF64FC9E4D}" srcOrd="0" destOrd="0" parTransId="{6292CD4E-D6AF-4ADB-A8FC-393A8F3CDFB1}" sibTransId="{A14F0D0A-DD03-4CC4-B7C1-67FE126E702B}"/>
    <dgm:cxn modelId="{C745FAF1-10EC-467E-A57C-8D47E3A03525}" srcId="{00E6B4CC-D8E6-4DDB-BE21-99AF771365CD}" destId="{782AE783-C789-49AA-B262-70240B0F4659}" srcOrd="3" destOrd="0" parTransId="{82FF2029-9E33-4F66-9C54-9B981CF31B41}" sibTransId="{E0A31238-E03B-4F0E-AB9D-35A0E74AF725}"/>
    <dgm:cxn modelId="{1CD78DDF-71D2-45C8-ACB6-FD058CE9EC9B}" type="presOf" srcId="{DF62B40D-07A9-4E60-BDA4-8599829770B6}" destId="{DE2D1D27-C650-4AB9-AC6A-705C1312545B}" srcOrd="1" destOrd="0" presId="urn:microsoft.com/office/officeart/2005/8/layout/pyramid1"/>
    <dgm:cxn modelId="{C65B3994-ACF5-4B08-8DF6-C66FF1685A67}" type="presOf" srcId="{51B01FB9-E5BA-45E4-967D-5DD727C9550E}" destId="{2ACF7852-B0EC-45FB-A10F-30069266F854}" srcOrd="0" destOrd="0" presId="urn:microsoft.com/office/officeart/2005/8/layout/pyramid1"/>
    <dgm:cxn modelId="{011FEFD2-DBC4-40A4-A9E0-C75D3980166F}" type="presOf" srcId="{8CBAB2A9-62D4-4140-9334-7FFF64FC9E4D}" destId="{08D12FF2-1F62-4E46-A736-B5D3281B89BA}" srcOrd="0" destOrd="0" presId="urn:microsoft.com/office/officeart/2005/8/layout/pyramid1"/>
    <dgm:cxn modelId="{10B540C9-F4B4-4AE4-B39C-6506BF8B84B2}" type="presOf" srcId="{51B01FB9-E5BA-45E4-967D-5DD727C9550E}" destId="{109BACD8-7080-4A20-89AC-CEF50D786B04}" srcOrd="1" destOrd="0" presId="urn:microsoft.com/office/officeart/2005/8/layout/pyramid1"/>
    <dgm:cxn modelId="{E168CD0D-AC33-4112-A0B7-16E9DC3D3B6E}" srcId="{00E6B4CC-D8E6-4DDB-BE21-99AF771365CD}" destId="{82243BCF-632C-4242-A50A-0C8FFFE3A233}" srcOrd="2" destOrd="0" parTransId="{B63054A9-E410-4383-B60D-4C6D3890B348}" sibTransId="{4B926DCF-B85F-40C0-AF24-F14DEE0DED0C}"/>
    <dgm:cxn modelId="{74800EB0-025B-4C48-96CF-947F6AAE846F}" type="presOf" srcId="{00E6B4CC-D8E6-4DDB-BE21-99AF771365CD}" destId="{12323273-939E-483A-B219-8534E6E4E1DF}" srcOrd="0" destOrd="0" presId="urn:microsoft.com/office/officeart/2005/8/layout/pyramid1"/>
    <dgm:cxn modelId="{C793F08F-D45F-445C-A776-20EAAF50EFD9}" type="presOf" srcId="{82243BCF-632C-4242-A50A-0C8FFFE3A233}" destId="{DEF077F6-76A7-4891-94DD-D9684CED13BB}" srcOrd="1" destOrd="0" presId="urn:microsoft.com/office/officeart/2005/8/layout/pyramid1"/>
    <dgm:cxn modelId="{5C03482F-BDFE-4C39-8179-80EDE12A7E69}" type="presOf" srcId="{DF62B40D-07A9-4E60-BDA4-8599829770B6}" destId="{C9A23C61-6A0D-47BC-ADF6-84BC5F63BF73}" srcOrd="0" destOrd="0" presId="urn:microsoft.com/office/officeart/2005/8/layout/pyramid1"/>
    <dgm:cxn modelId="{2C6EB48D-D79B-4D5A-8D49-985656650ECA}" type="presOf" srcId="{82243BCF-632C-4242-A50A-0C8FFFE3A233}" destId="{73249515-C3E6-4437-A3C5-90B5962B9670}" srcOrd="0" destOrd="0" presId="urn:microsoft.com/office/officeart/2005/8/layout/pyramid1"/>
    <dgm:cxn modelId="{9D62EE18-9978-4C10-B3E3-89D1BE08291E}" type="presParOf" srcId="{12323273-939E-483A-B219-8534E6E4E1DF}" destId="{A5ACA85F-9099-4186-AE6A-12529269C83D}" srcOrd="0" destOrd="0" presId="urn:microsoft.com/office/officeart/2005/8/layout/pyramid1"/>
    <dgm:cxn modelId="{FFCE6B02-8DD8-4208-A754-46E07CA41AD2}" type="presParOf" srcId="{A5ACA85F-9099-4186-AE6A-12529269C83D}" destId="{08D12FF2-1F62-4E46-A736-B5D3281B89BA}" srcOrd="0" destOrd="0" presId="urn:microsoft.com/office/officeart/2005/8/layout/pyramid1"/>
    <dgm:cxn modelId="{9CCFD4D2-05BA-4C1E-8AB0-ECFCAAFB37AF}" type="presParOf" srcId="{A5ACA85F-9099-4186-AE6A-12529269C83D}" destId="{7AA4409F-2BA7-48C4-BE62-DE338CC8A580}" srcOrd="1" destOrd="0" presId="urn:microsoft.com/office/officeart/2005/8/layout/pyramid1"/>
    <dgm:cxn modelId="{6E0DA621-BFCF-4FE0-A674-84E67983F523}" type="presParOf" srcId="{12323273-939E-483A-B219-8534E6E4E1DF}" destId="{A4C08322-FE04-48B7-8F19-B038466461BB}" srcOrd="1" destOrd="0" presId="urn:microsoft.com/office/officeart/2005/8/layout/pyramid1"/>
    <dgm:cxn modelId="{74E2C7F6-86E2-43A1-BCD2-BE5D62380D53}" type="presParOf" srcId="{A4C08322-FE04-48B7-8F19-B038466461BB}" destId="{C9A23C61-6A0D-47BC-ADF6-84BC5F63BF73}" srcOrd="0" destOrd="0" presId="urn:microsoft.com/office/officeart/2005/8/layout/pyramid1"/>
    <dgm:cxn modelId="{2693600C-1057-452D-8604-21C602915424}" type="presParOf" srcId="{A4C08322-FE04-48B7-8F19-B038466461BB}" destId="{DE2D1D27-C650-4AB9-AC6A-705C1312545B}" srcOrd="1" destOrd="0" presId="urn:microsoft.com/office/officeart/2005/8/layout/pyramid1"/>
    <dgm:cxn modelId="{FBBE752E-E388-40FC-B32A-49BB35045511}" type="presParOf" srcId="{12323273-939E-483A-B219-8534E6E4E1DF}" destId="{66DC317B-A7A9-45E6-A16C-524C9D5ACF61}" srcOrd="2" destOrd="0" presId="urn:microsoft.com/office/officeart/2005/8/layout/pyramid1"/>
    <dgm:cxn modelId="{0E63F2B2-6801-4083-9F11-0F134956D0BA}" type="presParOf" srcId="{66DC317B-A7A9-45E6-A16C-524C9D5ACF61}" destId="{73249515-C3E6-4437-A3C5-90B5962B9670}" srcOrd="0" destOrd="0" presId="urn:microsoft.com/office/officeart/2005/8/layout/pyramid1"/>
    <dgm:cxn modelId="{EDC88B04-F68C-410D-93BB-8ED6E752EC4C}" type="presParOf" srcId="{66DC317B-A7A9-45E6-A16C-524C9D5ACF61}" destId="{DEF077F6-76A7-4891-94DD-D9684CED13BB}" srcOrd="1" destOrd="0" presId="urn:microsoft.com/office/officeart/2005/8/layout/pyramid1"/>
    <dgm:cxn modelId="{68AA6BD4-E152-4F61-B39B-27A1D6FE2E3C}" type="presParOf" srcId="{12323273-939E-483A-B219-8534E6E4E1DF}" destId="{A149DE40-7AC3-4BB3-9566-286308C8758C}" srcOrd="3" destOrd="0" presId="urn:microsoft.com/office/officeart/2005/8/layout/pyramid1"/>
    <dgm:cxn modelId="{96FD73C6-FA19-44BA-BE56-C0C4042F33DB}" type="presParOf" srcId="{A149DE40-7AC3-4BB3-9566-286308C8758C}" destId="{93023DCC-47AC-468F-9B51-B63AB7C0B9E9}" srcOrd="0" destOrd="0" presId="urn:microsoft.com/office/officeart/2005/8/layout/pyramid1"/>
    <dgm:cxn modelId="{4D096642-745E-4DCA-89D1-ED6CCF5ED913}" type="presParOf" srcId="{A149DE40-7AC3-4BB3-9566-286308C8758C}" destId="{A3D7F8B0-16E9-4784-994F-028805C07FCD}" srcOrd="1" destOrd="0" presId="urn:microsoft.com/office/officeart/2005/8/layout/pyramid1"/>
    <dgm:cxn modelId="{4FD4C71D-5616-4E42-A86A-8F84331E5DC0}" type="presParOf" srcId="{12323273-939E-483A-B219-8534E6E4E1DF}" destId="{009D4366-691B-4D84-AFC3-043D00A5B10D}" srcOrd="4" destOrd="0" presId="urn:microsoft.com/office/officeart/2005/8/layout/pyramid1"/>
    <dgm:cxn modelId="{B1EDF09F-23AE-444F-B2B1-67E2117E351B}" type="presParOf" srcId="{009D4366-691B-4D84-AFC3-043D00A5B10D}" destId="{2ACF7852-B0EC-45FB-A10F-30069266F854}" srcOrd="0" destOrd="0" presId="urn:microsoft.com/office/officeart/2005/8/layout/pyramid1"/>
    <dgm:cxn modelId="{7ED2C3EF-93A7-4C87-96C6-9CDE9B233054}" type="presParOf" srcId="{009D4366-691B-4D84-AFC3-043D00A5B10D}" destId="{109BACD8-7080-4A20-89AC-CEF50D786B04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5490D8C-4781-4832-A95C-72C80A61E89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6DB9E995-0E30-4E1C-BD83-E48486737511}">
      <dgm:prSet phldrT="[Texto]" custT="1"/>
      <dgm:spPr/>
      <dgm:t>
        <a:bodyPr/>
        <a:lstStyle/>
        <a:p>
          <a:r>
            <a:rPr lang="es-ES" sz="1400" b="1" dirty="0" smtClean="0">
              <a:latin typeface="Calibri" panose="020F0502020204030204" pitchFamily="34" charset="0"/>
            </a:rPr>
            <a:t>Modelos de gestión a medida de cada CC.RR</a:t>
          </a:r>
          <a:endParaRPr lang="es-ES" sz="1400" b="1" dirty="0">
            <a:latin typeface="Calibri" panose="020F0502020204030204" pitchFamily="34" charset="0"/>
          </a:endParaRPr>
        </a:p>
      </dgm:t>
    </dgm:pt>
    <dgm:pt modelId="{807D61D9-C629-45FF-A6B1-7D7A3B08F1C7}" type="parTrans" cxnId="{9641F2BE-6904-417C-A449-9AB825778AB6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406ACBDC-D644-45CD-BAD6-EFA18636973D}" type="sibTrans" cxnId="{9641F2BE-6904-417C-A449-9AB825778AB6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7362A519-C2A4-4D28-82E7-DF9B157C95EA}">
      <dgm:prSet phldrT="[Texto]" custT="1"/>
      <dgm:spPr/>
      <dgm:t>
        <a:bodyPr/>
        <a:lstStyle/>
        <a:p>
          <a:r>
            <a:rPr lang="es-ES" sz="1400" b="1" dirty="0" smtClean="0">
              <a:latin typeface="Calibri" panose="020F0502020204030204" pitchFamily="34" charset="0"/>
            </a:rPr>
            <a:t>Auditoría Energética e Hidráulica</a:t>
          </a:r>
          <a:endParaRPr lang="es-ES" sz="1400" b="1" dirty="0">
            <a:latin typeface="Calibri" panose="020F0502020204030204" pitchFamily="34" charset="0"/>
          </a:endParaRPr>
        </a:p>
      </dgm:t>
    </dgm:pt>
    <dgm:pt modelId="{EFCE0670-C307-4E89-B604-B83C5FB799A6}" type="parTrans" cxnId="{C3FEFBE6-3DB2-4448-9766-D855E8655334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FD51135E-6F30-46C1-B22D-6FC29F0B6E54}" type="sibTrans" cxnId="{C3FEFBE6-3DB2-4448-9766-D855E8655334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38BBDCF9-EF0C-4C28-A61C-7CF4A8266DB3}">
      <dgm:prSet phldrT="[Texto]" custT="1"/>
      <dgm:spPr/>
      <dgm:t>
        <a:bodyPr/>
        <a:lstStyle/>
        <a:p>
          <a:r>
            <a:rPr lang="es-ES" sz="1400" b="1" dirty="0" smtClean="0">
              <a:latin typeface="Calibri" panose="020F0502020204030204" pitchFamily="34" charset="0"/>
            </a:rPr>
            <a:t>Reducción de costes de explotación</a:t>
          </a:r>
          <a:endParaRPr lang="es-ES" sz="1400" b="1" dirty="0">
            <a:latin typeface="Calibri" panose="020F0502020204030204" pitchFamily="34" charset="0"/>
          </a:endParaRPr>
        </a:p>
      </dgm:t>
    </dgm:pt>
    <dgm:pt modelId="{88692F8B-FDAD-48D7-8CEB-07D6A5798200}" type="parTrans" cxnId="{0157B251-1903-43FF-BD20-DDE23A129727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D7C5AAB9-E9A8-44E1-B6E4-740349E92D99}" type="sibTrans" cxnId="{0157B251-1903-43FF-BD20-DDE23A129727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40984007-09D8-43D0-AA05-798DBCC84F32}">
      <dgm:prSet phldrT="[Texto]" custT="1"/>
      <dgm:spPr/>
      <dgm:t>
        <a:bodyPr/>
        <a:lstStyle/>
        <a:p>
          <a:r>
            <a:rPr lang="es-ES" sz="1400" b="1" dirty="0" smtClean="0">
              <a:latin typeface="Calibri" panose="020F0502020204030204" pitchFamily="34" charset="0"/>
            </a:rPr>
            <a:t>Gabinete técnico de estudios y proyectos</a:t>
          </a:r>
          <a:endParaRPr lang="es-ES" sz="1400" b="1" dirty="0">
            <a:latin typeface="Calibri" panose="020F0502020204030204" pitchFamily="34" charset="0"/>
          </a:endParaRPr>
        </a:p>
      </dgm:t>
    </dgm:pt>
    <dgm:pt modelId="{6D083739-04E4-4C03-8B66-AF1A411CDD72}" type="parTrans" cxnId="{7EA12FFA-1661-48ED-A9C6-9D2875369409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00C88536-E525-48F2-B6D2-97B9BD0495ED}" type="sibTrans" cxnId="{7EA12FFA-1661-48ED-A9C6-9D2875369409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4B8A5283-ADF7-469F-9229-C49E212D7464}">
      <dgm:prSet phldrT="[Texto]" custT="1"/>
      <dgm:spPr/>
      <dgm:t>
        <a:bodyPr/>
        <a:lstStyle/>
        <a:p>
          <a:r>
            <a:rPr lang="es-ES" sz="1400" b="1" dirty="0" smtClean="0">
              <a:latin typeface="Calibri" panose="020F0502020204030204" pitchFamily="34" charset="0"/>
            </a:rPr>
            <a:t>Información y seguimiento de subvenciones del sector</a:t>
          </a:r>
          <a:endParaRPr lang="es-ES" sz="1400" b="1" dirty="0">
            <a:latin typeface="Calibri" panose="020F0502020204030204" pitchFamily="34" charset="0"/>
          </a:endParaRPr>
        </a:p>
      </dgm:t>
    </dgm:pt>
    <dgm:pt modelId="{58F7AC50-5B58-49B6-98EE-8318E05E06D4}" type="parTrans" cxnId="{B37EA04F-D8D2-4817-A7C4-E8CB53264EDD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84BDBDC5-6E49-4B53-8394-87131C2F2033}" type="sibTrans" cxnId="{B37EA04F-D8D2-4817-A7C4-E8CB53264EDD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E33BF687-92E8-44EA-8A4A-96C2DBB06278}">
      <dgm:prSet phldrT="[Texto]" custT="1"/>
      <dgm:spPr/>
      <dgm:t>
        <a:bodyPr/>
        <a:lstStyle/>
        <a:p>
          <a:r>
            <a:rPr lang="es-ES" sz="1400" b="1" dirty="0" smtClean="0">
              <a:latin typeface="Calibri" panose="020F0502020204030204" pitchFamily="34" charset="0"/>
            </a:rPr>
            <a:t>Análisis y aseguramiento de la calidad del agua de riego</a:t>
          </a:r>
          <a:endParaRPr lang="es-ES" sz="1400" b="1" dirty="0">
            <a:latin typeface="Calibri" panose="020F0502020204030204" pitchFamily="34" charset="0"/>
          </a:endParaRPr>
        </a:p>
      </dgm:t>
    </dgm:pt>
    <dgm:pt modelId="{3BA23370-8D12-4C6D-A832-ECACC48D723B}" type="parTrans" cxnId="{911C2F42-AFEC-4D7E-B193-AE0BF8B2716B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03A21DAC-F98E-48D1-89EF-FC3AC0B174A4}" type="sibTrans" cxnId="{911C2F42-AFEC-4D7E-B193-AE0BF8B2716B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16A3BD16-9A16-4EFF-8FC5-7B8FCE1B19AD}">
      <dgm:prSet phldrT="[Texto]" custT="1"/>
      <dgm:spPr/>
      <dgm:t>
        <a:bodyPr/>
        <a:lstStyle/>
        <a:p>
          <a:r>
            <a:rPr lang="es-ES" sz="1400" b="1" dirty="0" smtClean="0">
              <a:latin typeface="Calibri" panose="020F0502020204030204" pitchFamily="34" charset="0"/>
            </a:rPr>
            <a:t>Inversión en mejora de equipos</a:t>
          </a:r>
          <a:endParaRPr lang="es-ES" sz="1400" b="1" dirty="0">
            <a:latin typeface="Calibri" panose="020F0502020204030204" pitchFamily="34" charset="0"/>
          </a:endParaRPr>
        </a:p>
      </dgm:t>
    </dgm:pt>
    <dgm:pt modelId="{45ED6ABF-1786-4AC8-AC0B-D0CB30E515CB}" type="sibTrans" cxnId="{B12006AE-28E8-43EC-ACEF-FC6C14506A27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2B889324-40F4-4524-98F2-3A117C9C1761}" type="parTrans" cxnId="{B12006AE-28E8-43EC-ACEF-FC6C14506A27}">
      <dgm:prSet/>
      <dgm:spPr/>
      <dgm:t>
        <a:bodyPr/>
        <a:lstStyle/>
        <a:p>
          <a:endParaRPr lang="es-ES" sz="1400" b="1">
            <a:latin typeface="Calibri" panose="020F0502020204030204" pitchFamily="34" charset="0"/>
          </a:endParaRPr>
        </a:p>
      </dgm:t>
    </dgm:pt>
    <dgm:pt modelId="{EEF59E6D-9E1C-4693-A15E-B4E8C79EEEDE}" type="pres">
      <dgm:prSet presAssocID="{B5490D8C-4781-4832-A95C-72C80A61E89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4A932164-25CE-4B4F-9D9A-3D56D37F59CF}" type="pres">
      <dgm:prSet presAssocID="{B5490D8C-4781-4832-A95C-72C80A61E893}" presName="Name1" presStyleCnt="0"/>
      <dgm:spPr/>
    </dgm:pt>
    <dgm:pt modelId="{045809E2-3A7C-4026-AFD5-807EEFA052AE}" type="pres">
      <dgm:prSet presAssocID="{B5490D8C-4781-4832-A95C-72C80A61E893}" presName="cycle" presStyleCnt="0"/>
      <dgm:spPr/>
    </dgm:pt>
    <dgm:pt modelId="{4767C493-D6AE-4261-B62B-7B7FF6398C88}" type="pres">
      <dgm:prSet presAssocID="{B5490D8C-4781-4832-A95C-72C80A61E893}" presName="srcNode" presStyleLbl="node1" presStyleIdx="0" presStyleCnt="7"/>
      <dgm:spPr/>
    </dgm:pt>
    <dgm:pt modelId="{50FA9DB0-9177-4B11-8B33-2071E56330BD}" type="pres">
      <dgm:prSet presAssocID="{B5490D8C-4781-4832-A95C-72C80A61E893}" presName="conn" presStyleLbl="parChTrans1D2" presStyleIdx="0" presStyleCnt="1"/>
      <dgm:spPr/>
      <dgm:t>
        <a:bodyPr/>
        <a:lstStyle/>
        <a:p>
          <a:endParaRPr lang="es-ES"/>
        </a:p>
      </dgm:t>
    </dgm:pt>
    <dgm:pt modelId="{F25B7C63-8F0F-40FB-B261-20FE8A69363D}" type="pres">
      <dgm:prSet presAssocID="{B5490D8C-4781-4832-A95C-72C80A61E893}" presName="extraNode" presStyleLbl="node1" presStyleIdx="0" presStyleCnt="7"/>
      <dgm:spPr/>
    </dgm:pt>
    <dgm:pt modelId="{C4788D19-6338-4B07-9658-2E15E966D19B}" type="pres">
      <dgm:prSet presAssocID="{B5490D8C-4781-4832-A95C-72C80A61E893}" presName="dstNode" presStyleLbl="node1" presStyleIdx="0" presStyleCnt="7"/>
      <dgm:spPr/>
    </dgm:pt>
    <dgm:pt modelId="{AC373E43-4376-4703-A00C-EAF2DA6F02E7}" type="pres">
      <dgm:prSet presAssocID="{6DB9E995-0E30-4E1C-BD83-E48486737511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A716BB2-4E5E-45DF-BFC5-5EA0D92E2E8C}" type="pres">
      <dgm:prSet presAssocID="{6DB9E995-0E30-4E1C-BD83-E48486737511}" presName="accent_1" presStyleCnt="0"/>
      <dgm:spPr/>
    </dgm:pt>
    <dgm:pt modelId="{76C1427C-3CB4-4EE5-992D-9BB01E99766F}" type="pres">
      <dgm:prSet presAssocID="{6DB9E995-0E30-4E1C-BD83-E48486737511}" presName="accentRepeatNode" presStyleLbl="solidFgAcc1" presStyleIdx="0" presStyleCnt="7" custScaleX="8700" custScaleY="13404"/>
      <dgm:spPr/>
    </dgm:pt>
    <dgm:pt modelId="{89C94BB6-2027-45A0-A3DA-6F9D88CDBBC4}" type="pres">
      <dgm:prSet presAssocID="{7362A519-C2A4-4D28-82E7-DF9B157C95EA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214F6D1-B367-4D0A-A9EE-12C05F22DF16}" type="pres">
      <dgm:prSet presAssocID="{7362A519-C2A4-4D28-82E7-DF9B157C95EA}" presName="accent_2" presStyleCnt="0"/>
      <dgm:spPr/>
    </dgm:pt>
    <dgm:pt modelId="{9ED09E2C-90F2-486C-A834-2499B2844B89}" type="pres">
      <dgm:prSet presAssocID="{7362A519-C2A4-4D28-82E7-DF9B157C95EA}" presName="accentRepeatNode" presStyleLbl="solidFgAcc1" presStyleIdx="1" presStyleCnt="7" custFlipVert="1" custScaleX="4762" custScaleY="9742"/>
      <dgm:spPr/>
    </dgm:pt>
    <dgm:pt modelId="{A8A03F21-8EE2-4BB5-87CA-E9C0E3468487}" type="pres">
      <dgm:prSet presAssocID="{38BBDCF9-EF0C-4C28-A61C-7CF4A8266DB3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15665E2-4EBE-4EF2-8267-EF941AB69D21}" type="pres">
      <dgm:prSet presAssocID="{38BBDCF9-EF0C-4C28-A61C-7CF4A8266DB3}" presName="accent_3" presStyleCnt="0"/>
      <dgm:spPr/>
    </dgm:pt>
    <dgm:pt modelId="{214D9482-9951-47FE-91BB-7DECF27ABCFA}" type="pres">
      <dgm:prSet presAssocID="{38BBDCF9-EF0C-4C28-A61C-7CF4A8266DB3}" presName="accentRepeatNode" presStyleLbl="solidFgAcc1" presStyleIdx="2" presStyleCnt="7" custScaleX="8700" custScaleY="13404"/>
      <dgm:spPr/>
    </dgm:pt>
    <dgm:pt modelId="{C5FA8B7B-1340-495C-8A55-EF3DDC77E1F5}" type="pres">
      <dgm:prSet presAssocID="{40984007-09D8-43D0-AA05-798DBCC84F32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101501C-E18B-49D7-BCCC-FC5C9FD656EE}" type="pres">
      <dgm:prSet presAssocID="{40984007-09D8-43D0-AA05-798DBCC84F32}" presName="accent_4" presStyleCnt="0"/>
      <dgm:spPr/>
    </dgm:pt>
    <dgm:pt modelId="{4A8AB9F4-F771-4ECD-B4EA-8941B24943EC}" type="pres">
      <dgm:prSet presAssocID="{40984007-09D8-43D0-AA05-798DBCC84F32}" presName="accentRepeatNode" presStyleLbl="solidFgAcc1" presStyleIdx="3" presStyleCnt="7" custScaleX="8700" custScaleY="13404"/>
      <dgm:spPr/>
    </dgm:pt>
    <dgm:pt modelId="{39CDB9D6-FF6A-4346-B701-2D33BBF365B3}" type="pres">
      <dgm:prSet presAssocID="{4B8A5283-ADF7-469F-9229-C49E212D7464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1145327-06D7-41FE-830A-B6A5683FBF88}" type="pres">
      <dgm:prSet presAssocID="{4B8A5283-ADF7-469F-9229-C49E212D7464}" presName="accent_5" presStyleCnt="0"/>
      <dgm:spPr/>
    </dgm:pt>
    <dgm:pt modelId="{213D407F-5746-4F6A-9672-5B3F4D23339A}" type="pres">
      <dgm:prSet presAssocID="{4B8A5283-ADF7-469F-9229-C49E212D7464}" presName="accentRepeatNode" presStyleLbl="solidFgAcc1" presStyleIdx="4" presStyleCnt="7" custScaleX="8700" custScaleY="13404"/>
      <dgm:spPr/>
    </dgm:pt>
    <dgm:pt modelId="{7DAFC0B1-AECD-4220-A3E1-650C68D3C6C6}" type="pres">
      <dgm:prSet presAssocID="{16A3BD16-9A16-4EFF-8FC5-7B8FCE1B19AD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973BA87-9865-4ACB-BB1D-AA837531ED4D}" type="pres">
      <dgm:prSet presAssocID="{16A3BD16-9A16-4EFF-8FC5-7B8FCE1B19AD}" presName="accent_6" presStyleCnt="0"/>
      <dgm:spPr/>
    </dgm:pt>
    <dgm:pt modelId="{A02F502C-DB3A-46CA-95C3-596D25183EB7}" type="pres">
      <dgm:prSet presAssocID="{16A3BD16-9A16-4EFF-8FC5-7B8FCE1B19AD}" presName="accentRepeatNode" presStyleLbl="solidFgAcc1" presStyleIdx="5" presStyleCnt="7" custScaleX="8700" custScaleY="13404"/>
      <dgm:spPr/>
    </dgm:pt>
    <dgm:pt modelId="{52CCB7B8-4CAF-4909-BAF1-281A461932E0}" type="pres">
      <dgm:prSet presAssocID="{E33BF687-92E8-44EA-8A4A-96C2DBB06278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18CFA5E-05F5-4EF2-AD91-1E15464D77BA}" type="pres">
      <dgm:prSet presAssocID="{E33BF687-92E8-44EA-8A4A-96C2DBB06278}" presName="accent_7" presStyleCnt="0"/>
      <dgm:spPr/>
    </dgm:pt>
    <dgm:pt modelId="{8E65FEED-421D-49BD-8E3B-284DD52B97EB}" type="pres">
      <dgm:prSet presAssocID="{E33BF687-92E8-44EA-8A4A-96C2DBB06278}" presName="accentRepeatNode" presStyleLbl="solidFgAcc1" presStyleIdx="6" presStyleCnt="7" custScaleX="8700" custScaleY="13404"/>
      <dgm:spPr/>
    </dgm:pt>
  </dgm:ptLst>
  <dgm:cxnLst>
    <dgm:cxn modelId="{FA05E49D-B261-4D16-BFEE-58A98D571562}" type="presOf" srcId="{38BBDCF9-EF0C-4C28-A61C-7CF4A8266DB3}" destId="{A8A03F21-8EE2-4BB5-87CA-E9C0E3468487}" srcOrd="0" destOrd="0" presId="urn:microsoft.com/office/officeart/2008/layout/VerticalCurvedList"/>
    <dgm:cxn modelId="{C3FEFBE6-3DB2-4448-9766-D855E8655334}" srcId="{B5490D8C-4781-4832-A95C-72C80A61E893}" destId="{7362A519-C2A4-4D28-82E7-DF9B157C95EA}" srcOrd="1" destOrd="0" parTransId="{EFCE0670-C307-4E89-B604-B83C5FB799A6}" sibTransId="{FD51135E-6F30-46C1-B22D-6FC29F0B6E54}"/>
    <dgm:cxn modelId="{7EA12FFA-1661-48ED-A9C6-9D2875369409}" srcId="{B5490D8C-4781-4832-A95C-72C80A61E893}" destId="{40984007-09D8-43D0-AA05-798DBCC84F32}" srcOrd="3" destOrd="0" parTransId="{6D083739-04E4-4C03-8B66-AF1A411CDD72}" sibTransId="{00C88536-E525-48F2-B6D2-97B9BD0495ED}"/>
    <dgm:cxn modelId="{F9FF5B2E-5AAE-4FBC-8EE6-B7A87F7D3736}" type="presOf" srcId="{6DB9E995-0E30-4E1C-BD83-E48486737511}" destId="{AC373E43-4376-4703-A00C-EAF2DA6F02E7}" srcOrd="0" destOrd="0" presId="urn:microsoft.com/office/officeart/2008/layout/VerticalCurvedList"/>
    <dgm:cxn modelId="{9641F2BE-6904-417C-A449-9AB825778AB6}" srcId="{B5490D8C-4781-4832-A95C-72C80A61E893}" destId="{6DB9E995-0E30-4E1C-BD83-E48486737511}" srcOrd="0" destOrd="0" parTransId="{807D61D9-C629-45FF-A6B1-7D7A3B08F1C7}" sibTransId="{406ACBDC-D644-45CD-BAD6-EFA18636973D}"/>
    <dgm:cxn modelId="{15842AAA-B099-4F83-9F6B-01AC01B5301E}" type="presOf" srcId="{16A3BD16-9A16-4EFF-8FC5-7B8FCE1B19AD}" destId="{7DAFC0B1-AECD-4220-A3E1-650C68D3C6C6}" srcOrd="0" destOrd="0" presId="urn:microsoft.com/office/officeart/2008/layout/VerticalCurvedList"/>
    <dgm:cxn modelId="{CC10305B-154A-411C-A8C9-3F34574D6039}" type="presOf" srcId="{406ACBDC-D644-45CD-BAD6-EFA18636973D}" destId="{50FA9DB0-9177-4B11-8B33-2071E56330BD}" srcOrd="0" destOrd="0" presId="urn:microsoft.com/office/officeart/2008/layout/VerticalCurvedList"/>
    <dgm:cxn modelId="{3B4C8CA5-CE3A-4AD7-A29C-24B58922ED65}" type="presOf" srcId="{4B8A5283-ADF7-469F-9229-C49E212D7464}" destId="{39CDB9D6-FF6A-4346-B701-2D33BBF365B3}" srcOrd="0" destOrd="0" presId="urn:microsoft.com/office/officeart/2008/layout/VerticalCurvedList"/>
    <dgm:cxn modelId="{21B5075B-92F0-4D93-B024-0C2055769D0C}" type="presOf" srcId="{B5490D8C-4781-4832-A95C-72C80A61E893}" destId="{EEF59E6D-9E1C-4693-A15E-B4E8C79EEEDE}" srcOrd="0" destOrd="0" presId="urn:microsoft.com/office/officeart/2008/layout/VerticalCurvedList"/>
    <dgm:cxn modelId="{727C1ABD-B69B-4D5B-BA01-8CF9BCB613D6}" type="presOf" srcId="{E33BF687-92E8-44EA-8A4A-96C2DBB06278}" destId="{52CCB7B8-4CAF-4909-BAF1-281A461932E0}" srcOrd="0" destOrd="0" presId="urn:microsoft.com/office/officeart/2008/layout/VerticalCurvedList"/>
    <dgm:cxn modelId="{0157B251-1903-43FF-BD20-DDE23A129727}" srcId="{B5490D8C-4781-4832-A95C-72C80A61E893}" destId="{38BBDCF9-EF0C-4C28-A61C-7CF4A8266DB3}" srcOrd="2" destOrd="0" parTransId="{88692F8B-FDAD-48D7-8CEB-07D6A5798200}" sibTransId="{D7C5AAB9-E9A8-44E1-B6E4-740349E92D99}"/>
    <dgm:cxn modelId="{5177549C-E1D7-4417-9B40-A714148D92F5}" type="presOf" srcId="{40984007-09D8-43D0-AA05-798DBCC84F32}" destId="{C5FA8B7B-1340-495C-8A55-EF3DDC77E1F5}" srcOrd="0" destOrd="0" presId="urn:microsoft.com/office/officeart/2008/layout/VerticalCurvedList"/>
    <dgm:cxn modelId="{B37EA04F-D8D2-4817-A7C4-E8CB53264EDD}" srcId="{B5490D8C-4781-4832-A95C-72C80A61E893}" destId="{4B8A5283-ADF7-469F-9229-C49E212D7464}" srcOrd="4" destOrd="0" parTransId="{58F7AC50-5B58-49B6-98EE-8318E05E06D4}" sibTransId="{84BDBDC5-6E49-4B53-8394-87131C2F2033}"/>
    <dgm:cxn modelId="{B12006AE-28E8-43EC-ACEF-FC6C14506A27}" srcId="{B5490D8C-4781-4832-A95C-72C80A61E893}" destId="{16A3BD16-9A16-4EFF-8FC5-7B8FCE1B19AD}" srcOrd="5" destOrd="0" parTransId="{2B889324-40F4-4524-98F2-3A117C9C1761}" sibTransId="{45ED6ABF-1786-4AC8-AC0B-D0CB30E515CB}"/>
    <dgm:cxn modelId="{70DE450B-38D8-40DC-A57E-02A9D936698C}" type="presOf" srcId="{7362A519-C2A4-4D28-82E7-DF9B157C95EA}" destId="{89C94BB6-2027-45A0-A3DA-6F9D88CDBBC4}" srcOrd="0" destOrd="0" presId="urn:microsoft.com/office/officeart/2008/layout/VerticalCurvedList"/>
    <dgm:cxn modelId="{911C2F42-AFEC-4D7E-B193-AE0BF8B2716B}" srcId="{B5490D8C-4781-4832-A95C-72C80A61E893}" destId="{E33BF687-92E8-44EA-8A4A-96C2DBB06278}" srcOrd="6" destOrd="0" parTransId="{3BA23370-8D12-4C6D-A832-ECACC48D723B}" sibTransId="{03A21DAC-F98E-48D1-89EF-FC3AC0B174A4}"/>
    <dgm:cxn modelId="{5220A960-1B0A-42BF-A656-7D39DF826252}" type="presParOf" srcId="{EEF59E6D-9E1C-4693-A15E-B4E8C79EEEDE}" destId="{4A932164-25CE-4B4F-9D9A-3D56D37F59CF}" srcOrd="0" destOrd="0" presId="urn:microsoft.com/office/officeart/2008/layout/VerticalCurvedList"/>
    <dgm:cxn modelId="{2DC1F5D3-0A31-433F-A423-06338AD4A82D}" type="presParOf" srcId="{4A932164-25CE-4B4F-9D9A-3D56D37F59CF}" destId="{045809E2-3A7C-4026-AFD5-807EEFA052AE}" srcOrd="0" destOrd="0" presId="urn:microsoft.com/office/officeart/2008/layout/VerticalCurvedList"/>
    <dgm:cxn modelId="{07AAA0B2-5A1C-437F-9B4F-9F35916D17BF}" type="presParOf" srcId="{045809E2-3A7C-4026-AFD5-807EEFA052AE}" destId="{4767C493-D6AE-4261-B62B-7B7FF6398C88}" srcOrd="0" destOrd="0" presId="urn:microsoft.com/office/officeart/2008/layout/VerticalCurvedList"/>
    <dgm:cxn modelId="{343E3A8F-031F-439C-8D91-C8ABFD930AEC}" type="presParOf" srcId="{045809E2-3A7C-4026-AFD5-807EEFA052AE}" destId="{50FA9DB0-9177-4B11-8B33-2071E56330BD}" srcOrd="1" destOrd="0" presId="urn:microsoft.com/office/officeart/2008/layout/VerticalCurvedList"/>
    <dgm:cxn modelId="{7C7D9690-E76A-4008-A34A-0C114432C5DC}" type="presParOf" srcId="{045809E2-3A7C-4026-AFD5-807EEFA052AE}" destId="{F25B7C63-8F0F-40FB-B261-20FE8A69363D}" srcOrd="2" destOrd="0" presId="urn:microsoft.com/office/officeart/2008/layout/VerticalCurvedList"/>
    <dgm:cxn modelId="{1EAEB4E1-0FD8-4C49-B29A-8C3C09C31078}" type="presParOf" srcId="{045809E2-3A7C-4026-AFD5-807EEFA052AE}" destId="{C4788D19-6338-4B07-9658-2E15E966D19B}" srcOrd="3" destOrd="0" presId="urn:microsoft.com/office/officeart/2008/layout/VerticalCurvedList"/>
    <dgm:cxn modelId="{A0DE259A-9FBF-4D85-9803-379A1FF1DF02}" type="presParOf" srcId="{4A932164-25CE-4B4F-9D9A-3D56D37F59CF}" destId="{AC373E43-4376-4703-A00C-EAF2DA6F02E7}" srcOrd="1" destOrd="0" presId="urn:microsoft.com/office/officeart/2008/layout/VerticalCurvedList"/>
    <dgm:cxn modelId="{4C20E415-1340-4EFE-BDEC-BC135000D3A3}" type="presParOf" srcId="{4A932164-25CE-4B4F-9D9A-3D56D37F59CF}" destId="{CA716BB2-4E5E-45DF-BFC5-5EA0D92E2E8C}" srcOrd="2" destOrd="0" presId="urn:microsoft.com/office/officeart/2008/layout/VerticalCurvedList"/>
    <dgm:cxn modelId="{DEBBFAC1-E733-48C3-B983-AACC1492F703}" type="presParOf" srcId="{CA716BB2-4E5E-45DF-BFC5-5EA0D92E2E8C}" destId="{76C1427C-3CB4-4EE5-992D-9BB01E99766F}" srcOrd="0" destOrd="0" presId="urn:microsoft.com/office/officeart/2008/layout/VerticalCurvedList"/>
    <dgm:cxn modelId="{3A64C1E7-384A-4830-A9B7-CFD6AE57F873}" type="presParOf" srcId="{4A932164-25CE-4B4F-9D9A-3D56D37F59CF}" destId="{89C94BB6-2027-45A0-A3DA-6F9D88CDBBC4}" srcOrd="3" destOrd="0" presId="urn:microsoft.com/office/officeart/2008/layout/VerticalCurvedList"/>
    <dgm:cxn modelId="{E4DC3FA2-102A-487A-B3BE-F1278DC85E2C}" type="presParOf" srcId="{4A932164-25CE-4B4F-9D9A-3D56D37F59CF}" destId="{A214F6D1-B367-4D0A-A9EE-12C05F22DF16}" srcOrd="4" destOrd="0" presId="urn:microsoft.com/office/officeart/2008/layout/VerticalCurvedList"/>
    <dgm:cxn modelId="{4CB1F267-B2E9-4794-83C0-26243CA8139F}" type="presParOf" srcId="{A214F6D1-B367-4D0A-A9EE-12C05F22DF16}" destId="{9ED09E2C-90F2-486C-A834-2499B2844B89}" srcOrd="0" destOrd="0" presId="urn:microsoft.com/office/officeart/2008/layout/VerticalCurvedList"/>
    <dgm:cxn modelId="{E8723CCE-22DC-4C2C-8A6D-A13E8AB77D99}" type="presParOf" srcId="{4A932164-25CE-4B4F-9D9A-3D56D37F59CF}" destId="{A8A03F21-8EE2-4BB5-87CA-E9C0E3468487}" srcOrd="5" destOrd="0" presId="urn:microsoft.com/office/officeart/2008/layout/VerticalCurvedList"/>
    <dgm:cxn modelId="{BE44D5A5-8F3E-4BA1-8FBA-1B0D9E46FCC9}" type="presParOf" srcId="{4A932164-25CE-4B4F-9D9A-3D56D37F59CF}" destId="{315665E2-4EBE-4EF2-8267-EF941AB69D21}" srcOrd="6" destOrd="0" presId="urn:microsoft.com/office/officeart/2008/layout/VerticalCurvedList"/>
    <dgm:cxn modelId="{ABF00863-A1FB-4923-8FC2-C8180D2183CA}" type="presParOf" srcId="{315665E2-4EBE-4EF2-8267-EF941AB69D21}" destId="{214D9482-9951-47FE-91BB-7DECF27ABCFA}" srcOrd="0" destOrd="0" presId="urn:microsoft.com/office/officeart/2008/layout/VerticalCurvedList"/>
    <dgm:cxn modelId="{39910C86-3BD1-4CCA-AF5C-0D132A8EA46C}" type="presParOf" srcId="{4A932164-25CE-4B4F-9D9A-3D56D37F59CF}" destId="{C5FA8B7B-1340-495C-8A55-EF3DDC77E1F5}" srcOrd="7" destOrd="0" presId="urn:microsoft.com/office/officeart/2008/layout/VerticalCurvedList"/>
    <dgm:cxn modelId="{CB174CB8-207D-4BEC-B2AA-13D45E9C1789}" type="presParOf" srcId="{4A932164-25CE-4B4F-9D9A-3D56D37F59CF}" destId="{B101501C-E18B-49D7-BCCC-FC5C9FD656EE}" srcOrd="8" destOrd="0" presId="urn:microsoft.com/office/officeart/2008/layout/VerticalCurvedList"/>
    <dgm:cxn modelId="{74AAA335-F8F0-4F63-B4BA-FF981072BE1F}" type="presParOf" srcId="{B101501C-E18B-49D7-BCCC-FC5C9FD656EE}" destId="{4A8AB9F4-F771-4ECD-B4EA-8941B24943EC}" srcOrd="0" destOrd="0" presId="urn:microsoft.com/office/officeart/2008/layout/VerticalCurvedList"/>
    <dgm:cxn modelId="{B64C2B1C-7758-4D99-B96E-01E17F9EEC5E}" type="presParOf" srcId="{4A932164-25CE-4B4F-9D9A-3D56D37F59CF}" destId="{39CDB9D6-FF6A-4346-B701-2D33BBF365B3}" srcOrd="9" destOrd="0" presId="urn:microsoft.com/office/officeart/2008/layout/VerticalCurvedList"/>
    <dgm:cxn modelId="{3CFB0606-D68B-42C7-93E6-BDA79CF37045}" type="presParOf" srcId="{4A932164-25CE-4B4F-9D9A-3D56D37F59CF}" destId="{01145327-06D7-41FE-830A-B6A5683FBF88}" srcOrd="10" destOrd="0" presId="urn:microsoft.com/office/officeart/2008/layout/VerticalCurvedList"/>
    <dgm:cxn modelId="{9DF2D594-D9BD-4F92-876F-4BEF1F336261}" type="presParOf" srcId="{01145327-06D7-41FE-830A-B6A5683FBF88}" destId="{213D407F-5746-4F6A-9672-5B3F4D23339A}" srcOrd="0" destOrd="0" presId="urn:microsoft.com/office/officeart/2008/layout/VerticalCurvedList"/>
    <dgm:cxn modelId="{A0C9B791-53F7-4692-ADD4-182A39BC9437}" type="presParOf" srcId="{4A932164-25CE-4B4F-9D9A-3D56D37F59CF}" destId="{7DAFC0B1-AECD-4220-A3E1-650C68D3C6C6}" srcOrd="11" destOrd="0" presId="urn:microsoft.com/office/officeart/2008/layout/VerticalCurvedList"/>
    <dgm:cxn modelId="{24612354-D2A0-4AF6-A1B6-B47F066EF1C0}" type="presParOf" srcId="{4A932164-25CE-4B4F-9D9A-3D56D37F59CF}" destId="{9973BA87-9865-4ACB-BB1D-AA837531ED4D}" srcOrd="12" destOrd="0" presId="urn:microsoft.com/office/officeart/2008/layout/VerticalCurvedList"/>
    <dgm:cxn modelId="{919FE9F0-5130-406C-AC97-143E1BF2C91A}" type="presParOf" srcId="{9973BA87-9865-4ACB-BB1D-AA837531ED4D}" destId="{A02F502C-DB3A-46CA-95C3-596D25183EB7}" srcOrd="0" destOrd="0" presId="urn:microsoft.com/office/officeart/2008/layout/VerticalCurvedList"/>
    <dgm:cxn modelId="{479A275C-E8FA-45FF-87B0-403FE94757E6}" type="presParOf" srcId="{4A932164-25CE-4B4F-9D9A-3D56D37F59CF}" destId="{52CCB7B8-4CAF-4909-BAF1-281A461932E0}" srcOrd="13" destOrd="0" presId="urn:microsoft.com/office/officeart/2008/layout/VerticalCurvedList"/>
    <dgm:cxn modelId="{F42AFA96-0EDC-468A-ABA0-67974DE11D91}" type="presParOf" srcId="{4A932164-25CE-4B4F-9D9A-3D56D37F59CF}" destId="{418CFA5E-05F5-4EF2-AD91-1E15464D77BA}" srcOrd="14" destOrd="0" presId="urn:microsoft.com/office/officeart/2008/layout/VerticalCurvedList"/>
    <dgm:cxn modelId="{3350D368-21F9-4786-B261-3976D8F38148}" type="presParOf" srcId="{418CFA5E-05F5-4EF2-AD91-1E15464D77BA}" destId="{8E65FEED-421D-49BD-8E3B-284DD52B97E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E99138-9934-4133-8DDB-71384460A69B}">
      <dsp:nvSpPr>
        <dsp:cNvPr id="0" name=""/>
        <dsp:cNvSpPr/>
      </dsp:nvSpPr>
      <dsp:spPr>
        <a:xfrm>
          <a:off x="3088469" y="1185"/>
          <a:ext cx="1114341" cy="1114341"/>
        </a:xfrm>
        <a:prstGeom prst="ellipse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dirty="0">
              <a:solidFill>
                <a:srgbClr val="030F40"/>
              </a:solidFill>
            </a:rPr>
            <a:t>Sensórica y Monitoreo</a:t>
          </a:r>
          <a:endParaRPr lang="ca-ES" sz="1000" b="1" kern="1200" dirty="0">
            <a:solidFill>
              <a:srgbClr val="030F40"/>
            </a:solidFill>
          </a:endParaRPr>
        </a:p>
      </dsp:txBody>
      <dsp:txXfrm>
        <a:off x="3251660" y="164376"/>
        <a:ext cx="787959" cy="787959"/>
      </dsp:txXfrm>
    </dsp:sp>
    <dsp:sp modelId="{83B55CF7-70D4-4CA8-B3FF-7D5A5C7D9BC8}">
      <dsp:nvSpPr>
        <dsp:cNvPr id="0" name=""/>
        <dsp:cNvSpPr/>
      </dsp:nvSpPr>
      <dsp:spPr>
        <a:xfrm rot="1800000">
          <a:off x="4214961" y="868837"/>
          <a:ext cx="296746" cy="2077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ca-ES" sz="900" kern="1200" dirty="0"/>
        </a:p>
      </dsp:txBody>
      <dsp:txXfrm>
        <a:off x="4219136" y="894807"/>
        <a:ext cx="234418" cy="124655"/>
      </dsp:txXfrm>
    </dsp:sp>
    <dsp:sp modelId="{D063E94B-E931-4ABB-9C05-D74122B9A589}">
      <dsp:nvSpPr>
        <dsp:cNvPr id="0" name=""/>
        <dsp:cNvSpPr/>
      </dsp:nvSpPr>
      <dsp:spPr>
        <a:xfrm>
          <a:off x="4538403" y="838305"/>
          <a:ext cx="1114341" cy="1114341"/>
        </a:xfrm>
        <a:prstGeom prst="ellipse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dirty="0" smtClean="0">
              <a:solidFill>
                <a:srgbClr val="030F40"/>
              </a:solidFill>
            </a:rPr>
            <a:t>Teledetec-ción</a:t>
          </a:r>
          <a:endParaRPr lang="ca-ES" sz="1000" b="1" kern="1200" dirty="0">
            <a:solidFill>
              <a:srgbClr val="030F40"/>
            </a:solidFill>
          </a:endParaRPr>
        </a:p>
      </dsp:txBody>
      <dsp:txXfrm>
        <a:off x="4701594" y="1001496"/>
        <a:ext cx="787959" cy="787959"/>
      </dsp:txXfrm>
    </dsp:sp>
    <dsp:sp modelId="{1CBC85A8-21FD-42A8-A9A8-90AFF6D48166}">
      <dsp:nvSpPr>
        <dsp:cNvPr id="0" name=""/>
        <dsp:cNvSpPr/>
      </dsp:nvSpPr>
      <dsp:spPr>
        <a:xfrm rot="5400000">
          <a:off x="4947201" y="2120317"/>
          <a:ext cx="296746" cy="2077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ca-ES" sz="900" kern="1200" dirty="0"/>
        </a:p>
      </dsp:txBody>
      <dsp:txXfrm>
        <a:off x="4978365" y="2130705"/>
        <a:ext cx="234418" cy="124655"/>
      </dsp:txXfrm>
    </dsp:sp>
    <dsp:sp modelId="{E46CD275-8A5C-41EC-A151-5A0F93419B64}">
      <dsp:nvSpPr>
        <dsp:cNvPr id="0" name=""/>
        <dsp:cNvSpPr/>
      </dsp:nvSpPr>
      <dsp:spPr>
        <a:xfrm>
          <a:off x="4538403" y="2512545"/>
          <a:ext cx="1114341" cy="1114341"/>
        </a:xfrm>
        <a:prstGeom prst="ellipse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300" b="1" kern="1200" dirty="0" smtClean="0">
              <a:solidFill>
                <a:srgbClr val="030F40"/>
              </a:solidFill>
            </a:rPr>
            <a:t>CULTIVO</a:t>
          </a:r>
          <a:endParaRPr lang="ca-ES" sz="1300" b="1" kern="1200" dirty="0">
            <a:solidFill>
              <a:srgbClr val="030F40"/>
            </a:solidFill>
          </a:endParaRPr>
        </a:p>
      </dsp:txBody>
      <dsp:txXfrm>
        <a:off x="4701594" y="2675736"/>
        <a:ext cx="787959" cy="787959"/>
      </dsp:txXfrm>
    </dsp:sp>
    <dsp:sp modelId="{6B468A1E-3D63-49A7-8C09-3284F4DCD984}">
      <dsp:nvSpPr>
        <dsp:cNvPr id="0" name=""/>
        <dsp:cNvSpPr/>
      </dsp:nvSpPr>
      <dsp:spPr>
        <a:xfrm rot="9000000">
          <a:off x="4229507" y="3380196"/>
          <a:ext cx="296746" cy="2077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ca-ES" sz="900" kern="1200" dirty="0"/>
        </a:p>
      </dsp:txBody>
      <dsp:txXfrm rot="10800000">
        <a:off x="4287660" y="3406166"/>
        <a:ext cx="234418" cy="124655"/>
      </dsp:txXfrm>
    </dsp:sp>
    <dsp:sp modelId="{19ACFEAC-89F8-4F7A-8AF4-5CDEA95703C4}">
      <dsp:nvSpPr>
        <dsp:cNvPr id="0" name=""/>
        <dsp:cNvSpPr/>
      </dsp:nvSpPr>
      <dsp:spPr>
        <a:xfrm>
          <a:off x="3088469" y="3349664"/>
          <a:ext cx="1114341" cy="1114341"/>
        </a:xfrm>
        <a:prstGeom prst="ellipse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dirty="0">
              <a:solidFill>
                <a:srgbClr val="030F40"/>
              </a:solidFill>
            </a:rPr>
            <a:t>Riego precisión</a:t>
          </a:r>
          <a:endParaRPr lang="ca-ES" sz="1000" b="1" kern="1200" dirty="0">
            <a:solidFill>
              <a:srgbClr val="030F40"/>
            </a:solidFill>
          </a:endParaRPr>
        </a:p>
      </dsp:txBody>
      <dsp:txXfrm>
        <a:off x="3251660" y="3512855"/>
        <a:ext cx="787959" cy="787959"/>
      </dsp:txXfrm>
    </dsp:sp>
    <dsp:sp modelId="{023D71C9-59EF-4EC0-A4B9-BAC3CE5F06D5}">
      <dsp:nvSpPr>
        <dsp:cNvPr id="0" name=""/>
        <dsp:cNvSpPr/>
      </dsp:nvSpPr>
      <dsp:spPr>
        <a:xfrm rot="12600000">
          <a:off x="2779573" y="3388594"/>
          <a:ext cx="296746" cy="2077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ca-ES" sz="900" kern="1200" dirty="0"/>
        </a:p>
      </dsp:txBody>
      <dsp:txXfrm rot="10800000">
        <a:off x="2837726" y="3445728"/>
        <a:ext cx="234418" cy="124655"/>
      </dsp:txXfrm>
    </dsp:sp>
    <dsp:sp modelId="{8986653E-9368-4918-99B6-93F52EC357CE}">
      <dsp:nvSpPr>
        <dsp:cNvPr id="0" name=""/>
        <dsp:cNvSpPr/>
      </dsp:nvSpPr>
      <dsp:spPr>
        <a:xfrm>
          <a:off x="1638535" y="2512545"/>
          <a:ext cx="1114341" cy="1114341"/>
        </a:xfrm>
        <a:prstGeom prst="ellipse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dirty="0" smtClean="0">
              <a:solidFill>
                <a:srgbClr val="030F40"/>
              </a:solidFill>
            </a:rPr>
            <a:t>Infraestruc-turas</a:t>
          </a:r>
          <a:endParaRPr lang="ca-ES" sz="1000" b="1" kern="1200" dirty="0">
            <a:solidFill>
              <a:srgbClr val="030F40"/>
            </a:solidFill>
          </a:endParaRPr>
        </a:p>
      </dsp:txBody>
      <dsp:txXfrm>
        <a:off x="1801726" y="2675736"/>
        <a:ext cx="787959" cy="787959"/>
      </dsp:txXfrm>
    </dsp:sp>
    <dsp:sp modelId="{31F2CE0C-5483-4268-8ADF-96D76841B135}">
      <dsp:nvSpPr>
        <dsp:cNvPr id="0" name=""/>
        <dsp:cNvSpPr/>
      </dsp:nvSpPr>
      <dsp:spPr>
        <a:xfrm rot="16200000">
          <a:off x="2047333" y="2137114"/>
          <a:ext cx="296746" cy="2077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ca-ES" sz="900" kern="1200" dirty="0"/>
        </a:p>
      </dsp:txBody>
      <dsp:txXfrm>
        <a:off x="2078497" y="2209830"/>
        <a:ext cx="234418" cy="124655"/>
      </dsp:txXfrm>
    </dsp:sp>
    <dsp:sp modelId="{20DF7171-6E8B-4FFF-B727-89A1BD2B3553}">
      <dsp:nvSpPr>
        <dsp:cNvPr id="0" name=""/>
        <dsp:cNvSpPr/>
      </dsp:nvSpPr>
      <dsp:spPr>
        <a:xfrm>
          <a:off x="1638535" y="838305"/>
          <a:ext cx="1114341" cy="1114341"/>
        </a:xfrm>
        <a:prstGeom prst="ellipse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dirty="0">
              <a:solidFill>
                <a:srgbClr val="030F40"/>
              </a:solidFill>
            </a:rPr>
            <a:t>Gestión CCRR</a:t>
          </a:r>
          <a:endParaRPr lang="ca-ES" sz="1000" b="1" kern="1200" dirty="0">
            <a:solidFill>
              <a:srgbClr val="030F40"/>
            </a:solidFill>
          </a:endParaRPr>
        </a:p>
      </dsp:txBody>
      <dsp:txXfrm>
        <a:off x="1801726" y="1001496"/>
        <a:ext cx="787959" cy="787959"/>
      </dsp:txXfrm>
    </dsp:sp>
    <dsp:sp modelId="{3161D9C1-B646-4105-8D08-00A2E33414D1}">
      <dsp:nvSpPr>
        <dsp:cNvPr id="0" name=""/>
        <dsp:cNvSpPr/>
      </dsp:nvSpPr>
      <dsp:spPr>
        <a:xfrm rot="19800000">
          <a:off x="2765027" y="877235"/>
          <a:ext cx="296746" cy="2077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ca-ES" sz="900" kern="1200" dirty="0"/>
        </a:p>
      </dsp:txBody>
      <dsp:txXfrm>
        <a:off x="2769202" y="934369"/>
        <a:ext cx="234418" cy="1246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6D6E54-D345-4C82-BFA9-948E99788352}">
      <dsp:nvSpPr>
        <dsp:cNvPr id="0" name=""/>
        <dsp:cNvSpPr/>
      </dsp:nvSpPr>
      <dsp:spPr>
        <a:xfrm rot="10800000">
          <a:off x="2059798" y="1123"/>
          <a:ext cx="7494325" cy="688519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3618" tIns="60960" rIns="113792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solidFill>
                <a:srgbClr val="030F40"/>
              </a:solidFill>
              <a:latin typeface="Calibri" panose="020F0502020204030204" pitchFamily="34" charset="0"/>
            </a:rPr>
            <a:t>Auditorías energéticas y determinación del potencial de renovable</a:t>
          </a:r>
          <a:endParaRPr lang="es-ES" sz="1600" b="1" kern="1200" dirty="0">
            <a:solidFill>
              <a:srgbClr val="030F40"/>
            </a:solidFill>
            <a:latin typeface="Calibri" panose="020F0502020204030204" pitchFamily="34" charset="0"/>
          </a:endParaRPr>
        </a:p>
      </dsp:txBody>
      <dsp:txXfrm rot="10800000">
        <a:off x="2231928" y="1123"/>
        <a:ext cx="7322195" cy="688519"/>
      </dsp:txXfrm>
    </dsp:sp>
    <dsp:sp modelId="{064A6A9E-89BD-4A76-A10B-A92ACFB82D0A}">
      <dsp:nvSpPr>
        <dsp:cNvPr id="0" name=""/>
        <dsp:cNvSpPr/>
      </dsp:nvSpPr>
      <dsp:spPr>
        <a:xfrm>
          <a:off x="1715538" y="1123"/>
          <a:ext cx="688519" cy="688519"/>
        </a:xfrm>
        <a:prstGeom prst="ellipse">
          <a:avLst/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38B206-E27F-494A-8F5B-FBFD02A9A68E}">
      <dsp:nvSpPr>
        <dsp:cNvPr id="0" name=""/>
        <dsp:cNvSpPr/>
      </dsp:nvSpPr>
      <dsp:spPr>
        <a:xfrm rot="10800000">
          <a:off x="2059798" y="881738"/>
          <a:ext cx="7494325" cy="688519"/>
        </a:xfrm>
        <a:prstGeom prst="homePlat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3618" tIns="60960" rIns="113792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solidFill>
                <a:srgbClr val="030F40"/>
              </a:solidFill>
              <a:latin typeface="Calibri" panose="020F0502020204030204" pitchFamily="34" charset="0"/>
            </a:rPr>
            <a:t>Energías renovables (SFV, Hidráulica): Proyectos llaves en mano </a:t>
          </a:r>
          <a:endParaRPr lang="es-ES" sz="1600" b="1" kern="1200" dirty="0">
            <a:solidFill>
              <a:srgbClr val="030F40"/>
            </a:solidFill>
            <a:latin typeface="Calibri" panose="020F0502020204030204" pitchFamily="34" charset="0"/>
          </a:endParaRPr>
        </a:p>
      </dsp:txBody>
      <dsp:txXfrm rot="10800000">
        <a:off x="2231928" y="881738"/>
        <a:ext cx="7322195" cy="688519"/>
      </dsp:txXfrm>
    </dsp:sp>
    <dsp:sp modelId="{45AA19DB-A762-42DE-9873-873D228EE21E}">
      <dsp:nvSpPr>
        <dsp:cNvPr id="0" name=""/>
        <dsp:cNvSpPr/>
      </dsp:nvSpPr>
      <dsp:spPr>
        <a:xfrm>
          <a:off x="1715538" y="881738"/>
          <a:ext cx="688519" cy="688519"/>
        </a:xfrm>
        <a:prstGeom prst="ellipse">
          <a:avLst/>
        </a:prstGeom>
        <a:solidFill>
          <a:schemeClr val="accent3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9EB0F3-DE75-43D8-952D-57152B27ECFC}">
      <dsp:nvSpPr>
        <dsp:cNvPr id="0" name=""/>
        <dsp:cNvSpPr/>
      </dsp:nvSpPr>
      <dsp:spPr>
        <a:xfrm rot="10800000">
          <a:off x="2059798" y="1762352"/>
          <a:ext cx="7494325" cy="688519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3618" tIns="60960" rIns="113792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2238375" algn="l"/>
              <a:tab pos="2695575" algn="l"/>
            </a:tabLst>
          </a:pPr>
          <a:endParaRPr lang="es-ES" sz="1600" kern="1200" dirty="0">
            <a:solidFill>
              <a:srgbClr val="030F40"/>
            </a:solidFill>
            <a:latin typeface="Calibri" panose="020F0502020204030204" pitchFamily="34" charset="0"/>
          </a:endParaRPr>
        </a:p>
      </dsp:txBody>
      <dsp:txXfrm rot="10800000">
        <a:off x="2231928" y="1762352"/>
        <a:ext cx="7322195" cy="688519"/>
      </dsp:txXfrm>
    </dsp:sp>
    <dsp:sp modelId="{1DE3BF96-ECF1-4FE2-95A3-1DB7A0954344}">
      <dsp:nvSpPr>
        <dsp:cNvPr id="0" name=""/>
        <dsp:cNvSpPr/>
      </dsp:nvSpPr>
      <dsp:spPr>
        <a:xfrm>
          <a:off x="1715538" y="1762352"/>
          <a:ext cx="688519" cy="688519"/>
        </a:xfrm>
        <a:prstGeom prst="ellipse">
          <a:avLst/>
        </a:prstGeom>
        <a:solidFill>
          <a:schemeClr val="accent4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595CF4-5974-4F60-B596-F68C5A378B30}">
      <dsp:nvSpPr>
        <dsp:cNvPr id="0" name=""/>
        <dsp:cNvSpPr/>
      </dsp:nvSpPr>
      <dsp:spPr>
        <a:xfrm rot="10800000">
          <a:off x="2059798" y="2642967"/>
          <a:ext cx="7494325" cy="688519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3618" tIns="60960" rIns="113792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latin typeface="Calibri" panose="020F0502020204030204" pitchFamily="34" charset="0"/>
            </a:rPr>
            <a:t>Determinación de la huella de carbono</a:t>
          </a:r>
          <a:endParaRPr lang="es-ES" sz="1600" b="1" kern="1200" dirty="0">
            <a:latin typeface="Calibri" panose="020F0502020204030204" pitchFamily="34" charset="0"/>
          </a:endParaRPr>
        </a:p>
      </dsp:txBody>
      <dsp:txXfrm rot="10800000">
        <a:off x="2231928" y="2642967"/>
        <a:ext cx="7322195" cy="688519"/>
      </dsp:txXfrm>
    </dsp:sp>
    <dsp:sp modelId="{585F065C-DF57-4B2C-9C9C-AF90D29FBE63}">
      <dsp:nvSpPr>
        <dsp:cNvPr id="0" name=""/>
        <dsp:cNvSpPr/>
      </dsp:nvSpPr>
      <dsp:spPr>
        <a:xfrm>
          <a:off x="1715538" y="2642967"/>
          <a:ext cx="688519" cy="688519"/>
        </a:xfrm>
        <a:prstGeom prst="ellipse">
          <a:avLst/>
        </a:prstGeom>
        <a:solidFill>
          <a:schemeClr val="accent5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D77A23-D382-4EAA-984B-D66DE4747BB7}">
      <dsp:nvSpPr>
        <dsp:cNvPr id="0" name=""/>
        <dsp:cNvSpPr/>
      </dsp:nvSpPr>
      <dsp:spPr>
        <a:xfrm rot="10800000">
          <a:off x="2059798" y="3523581"/>
          <a:ext cx="7494325" cy="688519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3618" tIns="60960" rIns="113792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solidFill>
                <a:srgbClr val="030F40"/>
              </a:solidFill>
              <a:latin typeface="Calibri" panose="020F0502020204030204" pitchFamily="34" charset="0"/>
            </a:rPr>
            <a:t>Proyectos energéticos</a:t>
          </a:r>
          <a:endParaRPr lang="es-ES" sz="1600" b="1" kern="1200" dirty="0">
            <a:solidFill>
              <a:srgbClr val="030F40"/>
            </a:solidFill>
            <a:latin typeface="Calibri" panose="020F0502020204030204" pitchFamily="34" charset="0"/>
          </a:endParaRPr>
        </a:p>
      </dsp:txBody>
      <dsp:txXfrm rot="10800000">
        <a:off x="2231928" y="3523581"/>
        <a:ext cx="7322195" cy="688519"/>
      </dsp:txXfrm>
    </dsp:sp>
    <dsp:sp modelId="{6DCC7F15-A403-4B83-9936-7A023F7FB417}">
      <dsp:nvSpPr>
        <dsp:cNvPr id="0" name=""/>
        <dsp:cNvSpPr/>
      </dsp:nvSpPr>
      <dsp:spPr>
        <a:xfrm>
          <a:off x="1715538" y="3523581"/>
          <a:ext cx="688519" cy="688519"/>
        </a:xfrm>
        <a:prstGeom prst="ellipse">
          <a:avLst/>
        </a:prstGeom>
        <a:solidFill>
          <a:schemeClr val="accent6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D12FF2-1F62-4E46-A736-B5D3281B89BA}">
      <dsp:nvSpPr>
        <dsp:cNvPr id="0" name=""/>
        <dsp:cNvSpPr/>
      </dsp:nvSpPr>
      <dsp:spPr>
        <a:xfrm>
          <a:off x="1664526" y="0"/>
          <a:ext cx="860553" cy="884019"/>
        </a:xfrm>
        <a:prstGeom prst="trapezoid">
          <a:avLst>
            <a:gd name="adj" fmla="val 48685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kern="1200" dirty="0" smtClean="0">
              <a:latin typeface="Calibri" panose="020F0502020204030204" pitchFamily="34" charset="0"/>
            </a:rPr>
            <a:t>Sistemas de Información</a:t>
          </a:r>
          <a:endParaRPr lang="es-ES" sz="1200" b="1" kern="1200" dirty="0">
            <a:latin typeface="Calibri" panose="020F0502020204030204" pitchFamily="34" charset="0"/>
          </a:endParaRPr>
        </a:p>
      </dsp:txBody>
      <dsp:txXfrm>
        <a:off x="1664526" y="0"/>
        <a:ext cx="860553" cy="884019"/>
      </dsp:txXfrm>
    </dsp:sp>
    <dsp:sp modelId="{C9A23C61-6A0D-47BC-ADF6-84BC5F63BF73}">
      <dsp:nvSpPr>
        <dsp:cNvPr id="0" name=""/>
        <dsp:cNvSpPr/>
      </dsp:nvSpPr>
      <dsp:spPr>
        <a:xfrm>
          <a:off x="1256881" y="884019"/>
          <a:ext cx="1675842" cy="884019"/>
        </a:xfrm>
        <a:prstGeom prst="trapezoid">
          <a:avLst>
            <a:gd name="adj" fmla="val 47393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Calibri" panose="020F0502020204030204" pitchFamily="34" charset="0"/>
            </a:rPr>
            <a:t>Parcela</a:t>
          </a:r>
          <a:endParaRPr lang="es-ES" sz="1400" b="1" kern="1200" dirty="0">
            <a:latin typeface="Calibri" panose="020F0502020204030204" pitchFamily="34" charset="0"/>
          </a:endParaRPr>
        </a:p>
      </dsp:txBody>
      <dsp:txXfrm>
        <a:off x="1550154" y="884019"/>
        <a:ext cx="1089297" cy="884019"/>
      </dsp:txXfrm>
    </dsp:sp>
    <dsp:sp modelId="{73249515-C3E6-4437-A3C5-90B5962B9670}">
      <dsp:nvSpPr>
        <dsp:cNvPr id="0" name=""/>
        <dsp:cNvSpPr/>
      </dsp:nvSpPr>
      <dsp:spPr>
        <a:xfrm>
          <a:off x="837921" y="1768039"/>
          <a:ext cx="2513763" cy="884019"/>
        </a:xfrm>
        <a:prstGeom prst="trapezoid">
          <a:avLst>
            <a:gd name="adj" fmla="val 47393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Calibri" panose="020F0502020204030204" pitchFamily="34" charset="0"/>
            </a:rPr>
            <a:t>Red de hidrantes</a:t>
          </a:r>
          <a:endParaRPr lang="es-ES" sz="1400" b="1" kern="1200" dirty="0">
            <a:latin typeface="Calibri" panose="020F0502020204030204" pitchFamily="34" charset="0"/>
          </a:endParaRPr>
        </a:p>
      </dsp:txBody>
      <dsp:txXfrm>
        <a:off x="1277829" y="1768039"/>
        <a:ext cx="1633946" cy="884019"/>
      </dsp:txXfrm>
    </dsp:sp>
    <dsp:sp modelId="{93023DCC-47AC-468F-9B51-B63AB7C0B9E9}">
      <dsp:nvSpPr>
        <dsp:cNvPr id="0" name=""/>
        <dsp:cNvSpPr/>
      </dsp:nvSpPr>
      <dsp:spPr>
        <a:xfrm>
          <a:off x="418960" y="2652058"/>
          <a:ext cx="3351684" cy="884019"/>
        </a:xfrm>
        <a:prstGeom prst="trapezoid">
          <a:avLst>
            <a:gd name="adj" fmla="val 47393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solidFill>
                <a:schemeClr val="bg1"/>
              </a:solidFill>
              <a:latin typeface="Calibri" panose="020F0502020204030204" pitchFamily="34" charset="0"/>
            </a:rPr>
            <a:t>Bombeos</a:t>
          </a:r>
          <a:endParaRPr lang="es-ES" sz="1400" b="1" kern="1200" dirty="0">
            <a:solidFill>
              <a:schemeClr val="bg1"/>
            </a:solidFill>
            <a:latin typeface="Calibri" panose="020F0502020204030204" pitchFamily="34" charset="0"/>
          </a:endParaRPr>
        </a:p>
      </dsp:txBody>
      <dsp:txXfrm>
        <a:off x="1005505" y="2652058"/>
        <a:ext cx="2178595" cy="884019"/>
      </dsp:txXfrm>
    </dsp:sp>
    <dsp:sp modelId="{2ACF7852-B0EC-45FB-A10F-30069266F854}">
      <dsp:nvSpPr>
        <dsp:cNvPr id="0" name=""/>
        <dsp:cNvSpPr/>
      </dsp:nvSpPr>
      <dsp:spPr>
        <a:xfrm>
          <a:off x="0" y="3536078"/>
          <a:ext cx="4189606" cy="884019"/>
        </a:xfrm>
        <a:prstGeom prst="trapezoid">
          <a:avLst>
            <a:gd name="adj" fmla="val 47393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Calibri" panose="020F0502020204030204" pitchFamily="34" charset="0"/>
            </a:rPr>
            <a:t>Balsas de riego</a:t>
          </a:r>
          <a:endParaRPr lang="es-ES" sz="1400" b="1" kern="1200" dirty="0">
            <a:latin typeface="Calibri" panose="020F0502020204030204" pitchFamily="34" charset="0"/>
          </a:endParaRPr>
        </a:p>
      </dsp:txBody>
      <dsp:txXfrm>
        <a:off x="733181" y="3536078"/>
        <a:ext cx="2723243" cy="88401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FA9DB0-9177-4B11-8B33-2071E56330BD}">
      <dsp:nvSpPr>
        <dsp:cNvPr id="0" name=""/>
        <dsp:cNvSpPr/>
      </dsp:nvSpPr>
      <dsp:spPr>
        <a:xfrm>
          <a:off x="-5230443" y="-801113"/>
          <a:ext cx="6228466" cy="6228466"/>
        </a:xfrm>
        <a:prstGeom prst="blockArc">
          <a:avLst>
            <a:gd name="adj1" fmla="val 18900000"/>
            <a:gd name="adj2" fmla="val 2700000"/>
            <a:gd name="adj3" fmla="val 347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373E43-4376-4703-A00C-EAF2DA6F02E7}">
      <dsp:nvSpPr>
        <dsp:cNvPr id="0" name=""/>
        <dsp:cNvSpPr/>
      </dsp:nvSpPr>
      <dsp:spPr>
        <a:xfrm>
          <a:off x="322224" y="210308"/>
          <a:ext cx="5709708" cy="420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371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Calibri" panose="020F0502020204030204" pitchFamily="34" charset="0"/>
            </a:rPr>
            <a:t>Modelos de gestión a medida de cada CC.RR</a:t>
          </a:r>
          <a:endParaRPr lang="es-ES" sz="1400" b="1" kern="1200" dirty="0">
            <a:latin typeface="Calibri" panose="020F0502020204030204" pitchFamily="34" charset="0"/>
          </a:endParaRPr>
        </a:p>
      </dsp:txBody>
      <dsp:txXfrm>
        <a:off x="322224" y="210308"/>
        <a:ext cx="5709708" cy="420432"/>
      </dsp:txXfrm>
    </dsp:sp>
    <dsp:sp modelId="{76C1427C-3CB4-4EE5-992D-9BB01E99766F}">
      <dsp:nvSpPr>
        <dsp:cNvPr id="0" name=""/>
        <dsp:cNvSpPr/>
      </dsp:nvSpPr>
      <dsp:spPr>
        <a:xfrm>
          <a:off x="299363" y="385303"/>
          <a:ext cx="45722" cy="704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C94BB6-2027-45A0-A3DA-6F9D88CDBBC4}">
      <dsp:nvSpPr>
        <dsp:cNvPr id="0" name=""/>
        <dsp:cNvSpPr/>
      </dsp:nvSpPr>
      <dsp:spPr>
        <a:xfrm>
          <a:off x="702964" y="841328"/>
          <a:ext cx="5328969" cy="420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371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Calibri" panose="020F0502020204030204" pitchFamily="34" charset="0"/>
            </a:rPr>
            <a:t>Auditoría Energética e Hidráulica</a:t>
          </a:r>
          <a:endParaRPr lang="es-ES" sz="1400" b="1" kern="1200" dirty="0">
            <a:latin typeface="Calibri" panose="020F0502020204030204" pitchFamily="34" charset="0"/>
          </a:endParaRPr>
        </a:p>
      </dsp:txBody>
      <dsp:txXfrm>
        <a:off x="702964" y="841328"/>
        <a:ext cx="5328969" cy="420432"/>
      </dsp:txXfrm>
    </dsp:sp>
    <dsp:sp modelId="{9ED09E2C-90F2-486C-A834-2499B2844B89}">
      <dsp:nvSpPr>
        <dsp:cNvPr id="0" name=""/>
        <dsp:cNvSpPr/>
      </dsp:nvSpPr>
      <dsp:spPr>
        <a:xfrm flipV="1">
          <a:off x="690450" y="1025945"/>
          <a:ext cx="25026" cy="511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A03F21-8EE2-4BB5-87CA-E9C0E3468487}">
      <dsp:nvSpPr>
        <dsp:cNvPr id="0" name=""/>
        <dsp:cNvSpPr/>
      </dsp:nvSpPr>
      <dsp:spPr>
        <a:xfrm>
          <a:off x="911607" y="1471884"/>
          <a:ext cx="5120325" cy="420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371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Calibri" panose="020F0502020204030204" pitchFamily="34" charset="0"/>
            </a:rPr>
            <a:t>Reducción de costes de explotación</a:t>
          </a:r>
          <a:endParaRPr lang="es-ES" sz="1400" b="1" kern="1200" dirty="0">
            <a:latin typeface="Calibri" panose="020F0502020204030204" pitchFamily="34" charset="0"/>
          </a:endParaRPr>
        </a:p>
      </dsp:txBody>
      <dsp:txXfrm>
        <a:off x="911607" y="1471884"/>
        <a:ext cx="5120325" cy="420432"/>
      </dsp:txXfrm>
    </dsp:sp>
    <dsp:sp modelId="{214D9482-9951-47FE-91BB-7DECF27ABCFA}">
      <dsp:nvSpPr>
        <dsp:cNvPr id="0" name=""/>
        <dsp:cNvSpPr/>
      </dsp:nvSpPr>
      <dsp:spPr>
        <a:xfrm>
          <a:off x="888746" y="1646879"/>
          <a:ext cx="45722" cy="704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FA8B7B-1340-495C-8A55-EF3DDC77E1F5}">
      <dsp:nvSpPr>
        <dsp:cNvPr id="0" name=""/>
        <dsp:cNvSpPr/>
      </dsp:nvSpPr>
      <dsp:spPr>
        <a:xfrm>
          <a:off x="978225" y="2102903"/>
          <a:ext cx="5053708" cy="420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371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Calibri" panose="020F0502020204030204" pitchFamily="34" charset="0"/>
            </a:rPr>
            <a:t>Gabinete técnico de estudios y proyectos</a:t>
          </a:r>
          <a:endParaRPr lang="es-ES" sz="1400" b="1" kern="1200" dirty="0">
            <a:latin typeface="Calibri" panose="020F0502020204030204" pitchFamily="34" charset="0"/>
          </a:endParaRPr>
        </a:p>
      </dsp:txBody>
      <dsp:txXfrm>
        <a:off x="978225" y="2102903"/>
        <a:ext cx="5053708" cy="420432"/>
      </dsp:txXfrm>
    </dsp:sp>
    <dsp:sp modelId="{4A8AB9F4-F771-4ECD-B4EA-8941B24943EC}">
      <dsp:nvSpPr>
        <dsp:cNvPr id="0" name=""/>
        <dsp:cNvSpPr/>
      </dsp:nvSpPr>
      <dsp:spPr>
        <a:xfrm>
          <a:off x="955364" y="2277898"/>
          <a:ext cx="45722" cy="704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CDB9D6-FF6A-4346-B701-2D33BBF365B3}">
      <dsp:nvSpPr>
        <dsp:cNvPr id="0" name=""/>
        <dsp:cNvSpPr/>
      </dsp:nvSpPr>
      <dsp:spPr>
        <a:xfrm>
          <a:off x="911607" y="2733922"/>
          <a:ext cx="5120325" cy="420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371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Calibri" panose="020F0502020204030204" pitchFamily="34" charset="0"/>
            </a:rPr>
            <a:t>Información y seguimiento de subvenciones del sector</a:t>
          </a:r>
          <a:endParaRPr lang="es-ES" sz="1400" b="1" kern="1200" dirty="0">
            <a:latin typeface="Calibri" panose="020F0502020204030204" pitchFamily="34" charset="0"/>
          </a:endParaRPr>
        </a:p>
      </dsp:txBody>
      <dsp:txXfrm>
        <a:off x="911607" y="2733922"/>
        <a:ext cx="5120325" cy="420432"/>
      </dsp:txXfrm>
    </dsp:sp>
    <dsp:sp modelId="{213D407F-5746-4F6A-9672-5B3F4D23339A}">
      <dsp:nvSpPr>
        <dsp:cNvPr id="0" name=""/>
        <dsp:cNvSpPr/>
      </dsp:nvSpPr>
      <dsp:spPr>
        <a:xfrm>
          <a:off x="888746" y="2908917"/>
          <a:ext cx="45722" cy="704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AFC0B1-AECD-4220-A3E1-650C68D3C6C6}">
      <dsp:nvSpPr>
        <dsp:cNvPr id="0" name=""/>
        <dsp:cNvSpPr/>
      </dsp:nvSpPr>
      <dsp:spPr>
        <a:xfrm>
          <a:off x="702964" y="3364479"/>
          <a:ext cx="5328969" cy="420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371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Calibri" panose="020F0502020204030204" pitchFamily="34" charset="0"/>
            </a:rPr>
            <a:t>Inversión en mejora de equipos</a:t>
          </a:r>
          <a:endParaRPr lang="es-ES" sz="1400" b="1" kern="1200" dirty="0">
            <a:latin typeface="Calibri" panose="020F0502020204030204" pitchFamily="34" charset="0"/>
          </a:endParaRPr>
        </a:p>
      </dsp:txBody>
      <dsp:txXfrm>
        <a:off x="702964" y="3364479"/>
        <a:ext cx="5328969" cy="420432"/>
      </dsp:txXfrm>
    </dsp:sp>
    <dsp:sp modelId="{A02F502C-DB3A-46CA-95C3-596D25183EB7}">
      <dsp:nvSpPr>
        <dsp:cNvPr id="0" name=""/>
        <dsp:cNvSpPr/>
      </dsp:nvSpPr>
      <dsp:spPr>
        <a:xfrm>
          <a:off x="680103" y="3539473"/>
          <a:ext cx="45722" cy="704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CCB7B8-4CAF-4909-BAF1-281A461932E0}">
      <dsp:nvSpPr>
        <dsp:cNvPr id="0" name=""/>
        <dsp:cNvSpPr/>
      </dsp:nvSpPr>
      <dsp:spPr>
        <a:xfrm>
          <a:off x="322224" y="3995498"/>
          <a:ext cx="5709708" cy="4204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3718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latin typeface="Calibri" panose="020F0502020204030204" pitchFamily="34" charset="0"/>
            </a:rPr>
            <a:t>Análisis y aseguramiento de la calidad del agua de riego</a:t>
          </a:r>
          <a:endParaRPr lang="es-ES" sz="1400" b="1" kern="1200" dirty="0">
            <a:latin typeface="Calibri" panose="020F0502020204030204" pitchFamily="34" charset="0"/>
          </a:endParaRPr>
        </a:p>
      </dsp:txBody>
      <dsp:txXfrm>
        <a:off x="322224" y="3995498"/>
        <a:ext cx="5709708" cy="420432"/>
      </dsp:txXfrm>
    </dsp:sp>
    <dsp:sp modelId="{8E65FEED-421D-49BD-8E3B-284DD52B97EB}">
      <dsp:nvSpPr>
        <dsp:cNvPr id="0" name=""/>
        <dsp:cNvSpPr/>
      </dsp:nvSpPr>
      <dsp:spPr>
        <a:xfrm>
          <a:off x="299363" y="4170493"/>
          <a:ext cx="45722" cy="704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77024" cy="511075"/>
          </a:xfrm>
          <a:prstGeom prst="rect">
            <a:avLst/>
          </a:prstGeom>
        </p:spPr>
        <p:txBody>
          <a:bodyPr vert="horz" lIns="95053" tIns="47526" rIns="95053" bIns="47526" rtlCol="0"/>
          <a:lstStyle>
            <a:lvl1pPr algn="l">
              <a:defRPr sz="12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0625" y="2"/>
            <a:ext cx="3077024" cy="511075"/>
          </a:xfrm>
          <a:prstGeom prst="rect">
            <a:avLst/>
          </a:prstGeom>
        </p:spPr>
        <p:txBody>
          <a:bodyPr vert="horz" wrap="square" lIns="95053" tIns="47526" rIns="95053" bIns="4752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A2D86B8B-3752-42AE-A086-7FF57A57337A}" type="datetimeFigureOut">
              <a:rPr lang="fr-FR" altLang="fr-FR"/>
              <a:pPr>
                <a:defRPr/>
              </a:pPr>
              <a:t>16/01/2018</a:t>
            </a:fld>
            <a:endParaRPr lang="fr-FR" alt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9721904"/>
            <a:ext cx="3077024" cy="511075"/>
          </a:xfrm>
          <a:prstGeom prst="rect">
            <a:avLst/>
          </a:prstGeom>
        </p:spPr>
        <p:txBody>
          <a:bodyPr vert="horz" lIns="95053" tIns="47526" rIns="95053" bIns="47526" rtlCol="0" anchor="b"/>
          <a:lstStyle>
            <a:lvl1pPr algn="l">
              <a:defRPr sz="12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0625" y="9721904"/>
            <a:ext cx="3077024" cy="511075"/>
          </a:xfrm>
          <a:prstGeom prst="rect">
            <a:avLst/>
          </a:prstGeom>
        </p:spPr>
        <p:txBody>
          <a:bodyPr vert="horz" wrap="square" lIns="95053" tIns="47526" rIns="95053" bIns="4752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AE889E84-BB2C-474C-9467-95B11B32A6E4}" type="slidenum">
              <a:rPr lang="fr-FR" altLang="fr-FR"/>
              <a:pPr>
                <a:defRPr/>
              </a:pPr>
              <a:t>‹Nº›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14354114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3077024" cy="511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053" tIns="47526" rIns="95053" bIns="47526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625" y="2"/>
            <a:ext cx="3077024" cy="511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053" tIns="47526" rIns="95053" bIns="4752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593" y="4861773"/>
            <a:ext cx="5678118" cy="460459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053" tIns="47526" rIns="95053" bIns="475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0" smtClean="0"/>
              <a:t>Cliquez pour modifier les styles du texte du masque</a:t>
            </a:r>
          </a:p>
          <a:p>
            <a:pPr lvl="1"/>
            <a:r>
              <a:rPr lang="fr-FR" altLang="fr-FR" noProof="0" smtClean="0"/>
              <a:t>Deuxième niveau</a:t>
            </a:r>
          </a:p>
          <a:p>
            <a:pPr lvl="2"/>
            <a:r>
              <a:rPr lang="fr-FR" altLang="fr-FR" noProof="0" smtClean="0"/>
              <a:t>Troisième niveau</a:t>
            </a:r>
          </a:p>
          <a:p>
            <a:pPr lvl="3"/>
            <a:r>
              <a:rPr lang="fr-FR" altLang="fr-FR" noProof="0" smtClean="0"/>
              <a:t>Quatrième niveau</a:t>
            </a:r>
          </a:p>
          <a:p>
            <a:pPr lvl="4"/>
            <a:r>
              <a:rPr lang="fr-FR" altLang="fr-FR" noProof="0" smtClean="0"/>
              <a:t>Cinquième niveau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721904"/>
            <a:ext cx="3077024" cy="511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053" tIns="47526" rIns="95053" bIns="47526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625" y="9721904"/>
            <a:ext cx="3077024" cy="511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053" tIns="47526" rIns="95053" bIns="4752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0E90EA95-C20D-4762-BF39-01DA814B1CA0}" type="slidenum">
              <a:rPr lang="fr-FR" altLang="fr-FR"/>
              <a:pPr>
                <a:defRPr/>
              </a:pPr>
              <a:t>‹Nº›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42165662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90EA95-C20D-4762-BF39-01DA814B1CA0}" type="slidenum">
              <a:rPr lang="fr-FR" altLang="fr-FR" smtClean="0"/>
              <a:pPr>
                <a:defRPr/>
              </a:pPr>
              <a:t>1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2202802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EZ – EXPERTOS GESTIÓN ACTIVOS HÍDRICOS – EXPERIENCIA &gt;150 AÑOS</a:t>
            </a:r>
          </a:p>
          <a:p>
            <a:pPr lvl="1"/>
            <a:endParaRPr lang="es-E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ES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</a:t>
            </a:r>
            <a:r>
              <a:rPr lang="es-E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Pozos y Sondeos</a:t>
            </a:r>
            <a:r>
              <a:rPr lang="es-E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lvl="0"/>
            <a:endParaRPr lang="es-E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E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PTO. HIDROGEOLOGÍA – GESTIÓN POZOS Y MODELIZACIÓN ACUÍFEROS – DESARROLLO EQUIPOS PROPIOS – MONITORIZACIÓN PARÁMETROS – ANÁLISIS DATOS – PROGRAMACIÓN ACCIONES – ANTICIPACIÓN PROBLEMAS – REDUCCIÓN COSTES – FIABILIDAD DEL SISTEMA – OPERACIÓN Y MATENIMIENTO CENTRO DE CONTROL – ALARMAS. </a:t>
            </a:r>
          </a:p>
          <a:p>
            <a:pPr lvl="0"/>
            <a:endParaRPr lang="es-E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E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ÁGNÓSTICO Y RECONOCMIENTO – CÁMARA TV – AFOROS – MODELIZACIÓN MATEMÁTICA – INFORMES – IDENTIFICACIÓN PROBLEMAS – LIMPIEZA DE POZOS – RECUPERACIÓN CAUDALES. </a:t>
            </a:r>
          </a:p>
          <a:p>
            <a:pPr lvl="0"/>
            <a:endParaRPr lang="es-E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E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tenimiento de Balsas</a:t>
            </a:r>
            <a:r>
              <a:rPr lang="es-E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lvl="0"/>
            <a:endParaRPr lang="es-E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E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NIBILIDAD Y CALIDAD AGUA – MATENIMIENTO – EVITAR PROBLEMAS. </a:t>
            </a:r>
          </a:p>
          <a:p>
            <a:pPr lvl="0"/>
            <a:endParaRPr lang="es-E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E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O. PREVENTIVO – ALGAS FANGOS Y ESPECIES – AIREACIÓN – ULTRASONIDOS Y BIOCIDAS – CUBRICIÓN BALSAS EVAPORACIÓN Y EUTROFIZACIÓN . PLAES DE EMERGENCIA. </a:t>
            </a:r>
          </a:p>
          <a:p>
            <a:pPr lvl="0"/>
            <a:endParaRPr lang="es-E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E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 – MTO CORRECTIVO – EQUIPO LIMPIEZA BALSAS – MAQUINARIA PROPIA ARRASTRE – GARANTÍA LÁMINA IMPERMEABILIZANTE – LIMPIEZA COMPLETA.. </a:t>
            </a:r>
          </a:p>
          <a:p>
            <a:pPr lvl="0"/>
            <a:endParaRPr lang="es-E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E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detección. </a:t>
            </a:r>
          </a:p>
          <a:p>
            <a:pPr lvl="0"/>
            <a:endParaRPr lang="es-E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E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RROLLO TECNOLOGÍA – REDUCCIÓN COSTES IMPLANTACIÓN – AGRICUTURA SMART</a:t>
            </a:r>
          </a:p>
          <a:p>
            <a:pPr lvl="0"/>
            <a:endParaRPr lang="es-E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E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N SATÉLITE – MUCHAS POSIBILIDADES- PARCELARIO – MAPA CULTIVOS – MAPAS ABONADO – ESTIMAR Y PLANIFICAR CONSUMOS – UNIFORMIDAD DE RIEGO – DETECCIÓN FUGAS – ANÁLISIS VIGOR CULTIVO.  </a:t>
            </a:r>
          </a:p>
          <a:p>
            <a:pPr lvl="0"/>
            <a:endParaRPr lang="es-ES_tradnl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_tradnl" sz="1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órica</a:t>
            </a:r>
            <a:r>
              <a:rPr lang="es-ES_tradnl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vanzada control del riego. </a:t>
            </a:r>
          </a:p>
          <a:p>
            <a:endParaRPr lang="es-ES_tradnl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_tradnl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ACIÓN SENSORES DE MEDIDA - HUMEDAD SUELO – DENDRÓMETROS – ESTACIONES CLIMATOLÓGICAS – SONDAS NITRÓGENO + DATOS TELEDETECCIÓN - ANÁLISIS AGRONÓMICO – POSIBILIDADES INMENSAS . </a:t>
            </a:r>
          </a:p>
          <a:p>
            <a:endParaRPr lang="es-ES_tradnl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_tradnl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NIBILIDAD PARA PLANTA AGUA Y ABONO - OPTIMIZACIÓN VOLUMEN APLICADO – DURACION RIEGOS – DISMINUCIÓN CONSUMO AGUA Y ABONO – REDUCCIÓN COSTES – IMPACTO AMBIENTAL – MEJORA PRODUCCIÓN Y CALIDAD DEL CULTIVO. </a:t>
            </a:r>
          </a:p>
          <a:p>
            <a:endParaRPr lang="es-ES_tradnl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tenimiento de redes y equipos. </a:t>
            </a:r>
          </a:p>
          <a:p>
            <a:endParaRPr lang="es-E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ENCIA EXPLOTACIÓN REDES – SERVICIOS A MEDIDA </a:t>
            </a:r>
            <a:endParaRPr lang="es-ES" sz="1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endParaRPr lang="es-ES" sz="1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endParaRPr lang="es-ES" sz="1300" dirty="0">
              <a:latin typeface="Calibri" panose="020F0502020204030204" pitchFamily="34" charset="0"/>
            </a:endParaRPr>
          </a:p>
          <a:p>
            <a:pPr marL="473842" lvl="1"/>
            <a:r>
              <a:rPr lang="es-ES" sz="1300" dirty="0">
                <a:latin typeface="Calibri" panose="020F0502020204030204" pitchFamily="34" charset="0"/>
              </a:rPr>
              <a:t> </a:t>
            </a:r>
          </a:p>
          <a:p>
            <a:endParaRPr lang="es-ES" sz="1300" dirty="0">
              <a:latin typeface="Calibri" panose="020F0502020204030204" pitchFamily="34" charset="0"/>
            </a:endParaRPr>
          </a:p>
          <a:p>
            <a:pPr marL="473842" lvl="1"/>
            <a:endParaRPr lang="es-ES_tradnl" baseline="0" dirty="0" smtClean="0">
              <a:latin typeface="BankGothic Lt BT" pitchFamily="34" charset="0"/>
            </a:endParaRPr>
          </a:p>
          <a:p>
            <a:endParaRPr lang="es-ES_tradnl" baseline="0" dirty="0" smtClean="0">
              <a:latin typeface="BankGothic Lt BT" pitchFamily="34" charset="0"/>
            </a:endParaRPr>
          </a:p>
          <a:p>
            <a:endParaRPr lang="es-ES" baseline="0" dirty="0" smtClean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90EA95-C20D-4762-BF39-01DA814B1CA0}" type="slidenum">
              <a:rPr lang="fr-FR" altLang="fr-FR" smtClean="0"/>
              <a:pPr>
                <a:defRPr/>
              </a:pPr>
              <a:t>10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4079629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sz="1400" dirty="0">
              <a:solidFill>
                <a:schemeClr val="tx1"/>
              </a:solidFill>
            </a:endParaRPr>
          </a:p>
          <a:p>
            <a:r>
              <a:rPr lang="es-ES" sz="1400" dirty="0">
                <a:solidFill>
                  <a:schemeClr val="tx1"/>
                </a:solidFill>
              </a:rPr>
              <a:t>DESARROLLO PROPIO EQUIPO AGRICULTURA – INTEGRACIÓN – RED ALTA (CAPTACIÓN Y PRESURIZACIÓN AGUA) Y RED BAJA (APLICACIÓN EN PARCELA). . </a:t>
            </a:r>
          </a:p>
          <a:p>
            <a:endParaRPr lang="es-ES" sz="1400" dirty="0">
              <a:solidFill>
                <a:schemeClr val="tx1"/>
              </a:solidFill>
            </a:endParaRPr>
          </a:p>
          <a:p>
            <a:r>
              <a:rPr lang="es-ES" sz="1400" dirty="0">
                <a:solidFill>
                  <a:schemeClr val="tx1"/>
                </a:solidFill>
              </a:rPr>
              <a:t>COMPONENTES SISTEMA </a:t>
            </a:r>
          </a:p>
          <a:p>
            <a:endParaRPr lang="es-ES" sz="1400" b="1" dirty="0">
              <a:solidFill>
                <a:schemeClr val="tx1"/>
              </a:solidFill>
            </a:endParaRPr>
          </a:p>
          <a:p>
            <a:pPr defTabSz="947684">
              <a:defRPr/>
            </a:pPr>
            <a:r>
              <a:rPr lang="es-ES" sz="1400" b="1" dirty="0">
                <a:solidFill>
                  <a:schemeClr val="tx1"/>
                </a:solidFill>
              </a:rPr>
              <a:t>Software de control y análisis</a:t>
            </a:r>
            <a:r>
              <a:rPr lang="es-ES" sz="1400" dirty="0">
                <a:solidFill>
                  <a:schemeClr val="tx1"/>
                </a:solidFill>
              </a:rPr>
              <a:t> (SCADA) </a:t>
            </a:r>
          </a:p>
          <a:p>
            <a:pPr defTabSz="947684">
              <a:defRPr/>
            </a:pPr>
            <a:endParaRPr lang="es-ES" sz="1400" dirty="0">
              <a:solidFill>
                <a:schemeClr val="tx1"/>
              </a:solidFill>
            </a:endParaRPr>
          </a:p>
          <a:p>
            <a:pPr defTabSz="947684">
              <a:defRPr/>
            </a:pPr>
            <a:r>
              <a:rPr lang="es-ES" sz="1400" dirty="0">
                <a:solidFill>
                  <a:schemeClr val="tx1"/>
                </a:solidFill>
              </a:rPr>
              <a:t>COMUNICACIÓN BIDIRECCIÓNAL – CENTRO CONTROL - VIA INTERNET (PERMITE GPRS, 3G, WIFI, WIMAX…)  . CONCENTRADORES. </a:t>
            </a:r>
          </a:p>
          <a:p>
            <a:pPr defTabSz="947684">
              <a:defRPr/>
            </a:pPr>
            <a:endParaRPr lang="es-ES" sz="1400" dirty="0">
              <a:solidFill>
                <a:schemeClr val="tx1"/>
              </a:solidFill>
            </a:endParaRPr>
          </a:p>
          <a:p>
            <a:pPr defTabSz="947684">
              <a:defRPr/>
            </a:pPr>
            <a:r>
              <a:rPr lang="es-ES" sz="1400" b="1" dirty="0">
                <a:solidFill>
                  <a:schemeClr val="tx1"/>
                </a:solidFill>
              </a:rPr>
              <a:t>Concentrador</a:t>
            </a:r>
            <a:r>
              <a:rPr lang="es-ES" sz="1400" dirty="0">
                <a:solidFill>
                  <a:schemeClr val="tx1"/>
                </a:solidFill>
              </a:rPr>
              <a:t>: </a:t>
            </a:r>
          </a:p>
          <a:p>
            <a:pPr defTabSz="947684">
              <a:defRPr/>
            </a:pPr>
            <a:endParaRPr lang="es-ES" sz="1400" dirty="0">
              <a:solidFill>
                <a:schemeClr val="tx1"/>
              </a:solidFill>
            </a:endParaRPr>
          </a:p>
          <a:p>
            <a:pPr defTabSz="947684">
              <a:defRPr/>
            </a:pPr>
            <a:r>
              <a:rPr lang="es-ES" sz="1400" dirty="0">
                <a:solidFill>
                  <a:schemeClr val="tx1"/>
                </a:solidFill>
              </a:rPr>
              <a:t>COMUNICACIÓN BIDIRECCIONAL – CONCENTRADOR – VIA RADIO - CONTROLADOR DE HIDRANTE – FALLO CONCENTRADOR REMOTAS CONECTAN CON OTRO CONCETRADOR SECUNDARIO PARA GARANTIZAR LA COMUNICACIÓN. </a:t>
            </a:r>
          </a:p>
          <a:p>
            <a:pPr defTabSz="947684">
              <a:defRPr/>
            </a:pPr>
            <a:r>
              <a:rPr lang="es-ES" sz="1400" dirty="0">
                <a:solidFill>
                  <a:schemeClr val="tx1"/>
                </a:solidFill>
              </a:rPr>
              <a:t> </a:t>
            </a:r>
          </a:p>
          <a:p>
            <a:pPr defTabSz="947684">
              <a:defRPr/>
            </a:pPr>
            <a:r>
              <a:rPr lang="es-ES" sz="1400" b="1" dirty="0">
                <a:solidFill>
                  <a:schemeClr val="tx1"/>
                </a:solidFill>
              </a:rPr>
              <a:t>Controlador de Hidrante Suez</a:t>
            </a:r>
            <a:r>
              <a:rPr lang="es-ES" sz="1400" dirty="0">
                <a:solidFill>
                  <a:schemeClr val="tx1"/>
                </a:solidFill>
              </a:rPr>
              <a:t> </a:t>
            </a:r>
          </a:p>
          <a:p>
            <a:pPr defTabSz="947684">
              <a:defRPr/>
            </a:pPr>
            <a:endParaRPr lang="es-ES" sz="1400" dirty="0">
              <a:solidFill>
                <a:schemeClr val="tx1"/>
              </a:solidFill>
            </a:endParaRPr>
          </a:p>
          <a:p>
            <a:pPr defTabSz="947684">
              <a:defRPr/>
            </a:pPr>
            <a:r>
              <a:rPr lang="es-ES" sz="1400" dirty="0">
                <a:solidFill>
                  <a:schemeClr val="tx1"/>
                </a:solidFill>
              </a:rPr>
              <a:t>AUTOMATIZAR Y CONTROLAR HIDRANTES DE RIEGO – APERTURA Y CIERRE DE VÁLVULAS – LECTURA DE CONTADORES REALES O ESTIMADOS - MEDICIÓN CAUDALES Y PRESIONES ETC… - MEDICIÓN SENSÓRICA DE CAMPO – DETECCIÓN FALLOS APERTURA/CIERRE – POSIBILIDAD DE PROGRAMACIÓN DE RIEGOS INDIVIDUAL PARA CADA HIDRANTES (A DEMANDA POR TURNOS, TEMPORADA, PREPAGO….) </a:t>
            </a:r>
          </a:p>
          <a:p>
            <a:pPr defTabSz="947684">
              <a:defRPr/>
            </a:pPr>
            <a:endParaRPr lang="es-ES" sz="1400" dirty="0">
              <a:solidFill>
                <a:schemeClr val="tx1"/>
              </a:solidFill>
            </a:endParaRPr>
          </a:p>
          <a:p>
            <a:pPr defTabSz="947684">
              <a:defRPr/>
            </a:pPr>
            <a:r>
              <a:rPr lang="es-ES" sz="1400" dirty="0">
                <a:solidFill>
                  <a:schemeClr val="tx1"/>
                </a:solidFill>
              </a:rPr>
              <a:t>TECNOLOGÍA RECIENTE – CONSUMO MÍNIMO – GRAN AUTONOMÍA – ALIMENTACIÓN ESF – FIABILIDAD – INFORMACIÓN ENCRIPTADA – ALARAMAS DE ENVENTOS – INTRUSIÓN – PROGRAMACIONES A MEDIDA. </a:t>
            </a:r>
          </a:p>
          <a:p>
            <a:pPr defTabSz="947684">
              <a:defRPr/>
            </a:pPr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90EA95-C20D-4762-BF39-01DA814B1CA0}" type="slidenum">
              <a:rPr lang="fr-FR" altLang="fr-FR" smtClean="0"/>
              <a:pPr>
                <a:defRPr/>
              </a:pPr>
              <a:t>11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9665715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noProof="0" dirty="0" smtClean="0"/>
              <a:t>GESTIÓN</a:t>
            </a:r>
            <a:r>
              <a:rPr lang="es-ES" sz="1200" baseline="0" noProof="0" dirty="0" smtClean="0"/>
              <a:t> INTEGRAL – CONJUNTO DE SERVICIOS – NECESIDADES PARTICULARES – AUDITORIA Y EXAMEN DE INSTALACIONES Y PROCEDIMIENTOS – EVALUACIÓN ÁREA DE MEJORA – PLAN DE EXPLOTACIÓN Y MTO PREVENTIVO Y CORRECTIVO – GARANTÍA DE SUMINISTRO Y REDUCCIÓN COSTES DE EXPLOTACIÓN. </a:t>
            </a:r>
          </a:p>
          <a:p>
            <a:endParaRPr lang="es-ES" sz="1200" baseline="0" dirty="0" smtClean="0"/>
          </a:p>
          <a:p>
            <a:r>
              <a:rPr lang="es-ES" sz="1200" b="0" baseline="0" dirty="0" smtClean="0"/>
              <a:t>GABINETE TÉCNICO – VALORACIÓN Y ESTUDIO MEDIDAS MEJORA – SEGUIMIENTO Y SOLICITUD DE SUBVENCIONES – INVERSIONES CON FINANCIACIÓN DIRECTA Y ANÁLISIS DE VIABILIDAD Y RETORNO. </a:t>
            </a:r>
          </a:p>
          <a:p>
            <a:endParaRPr lang="es-ES" sz="1200" baseline="0" dirty="0" smtClean="0"/>
          </a:p>
          <a:p>
            <a:r>
              <a:rPr lang="es-ES" sz="1200" baseline="0" dirty="0" smtClean="0"/>
              <a:t>GESTIÓN FUNDAMENTADA EN MEJORA DEL SERVICIO – AHORRO DE COSTES – SIN COSTE AÑADIDO – ASESORAMIENTO Y APOYO RESOLUCIÓN DE PROBLEMAS DE CALIDAD DE SERVICIO Y DE LA CALIDAD DEL AGUA DE RIEGO – LABORATORIO CERTIFICADO. </a:t>
            </a:r>
          </a:p>
        </p:txBody>
      </p:sp>
      <p:sp>
        <p:nvSpPr>
          <p:cNvPr id="4" name="Conteni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F97AA-711E-4028-BFAB-0F9B2470C994}" type="slidenum">
              <a:rPr lang="ca-ES" smtClean="0"/>
              <a:t>12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6197362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DEPARTAMENTO DE INFRAESTRUCTURAS – ATENDEMOS CUALQUIER NECESIDAD TÉCNICA.</a:t>
            </a:r>
          </a:p>
          <a:p>
            <a:endParaRPr lang="es-ES" sz="12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" sz="1200" kern="0" dirty="0">
                <a:latin typeface="Arial" panose="020B0604020202020204" pitchFamily="34" charset="0"/>
                <a:cs typeface="Arial" panose="020B0604020202020204" pitchFamily="34" charset="0"/>
              </a:rPr>
              <a:t>EJECUCIÓN  INTEGRAL – </a:t>
            </a:r>
            <a:r>
              <a:rPr lang="es-ES" sz="1200" kern="0" dirty="0" err="1">
                <a:latin typeface="Arial" panose="020B0604020202020204" pitchFamily="34" charset="0"/>
                <a:cs typeface="Arial" panose="020B0604020202020204" pitchFamily="34" charset="0"/>
              </a:rPr>
              <a:t>OyM</a:t>
            </a:r>
            <a:r>
              <a:rPr lang="es-ES" sz="12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ES" sz="12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sz="12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" sz="12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BOT</a:t>
            </a:r>
            <a:r>
              <a:rPr lang="es-ES" sz="1200" kern="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ES" sz="1200" kern="0" dirty="0" err="1">
                <a:latin typeface="Arial" panose="020B0604020202020204" pitchFamily="34" charset="0"/>
                <a:cs typeface="Arial" panose="020B0604020202020204" pitchFamily="34" charset="0"/>
              </a:rPr>
              <a:t>Building</a:t>
            </a:r>
            <a:r>
              <a:rPr lang="es-ES" sz="1200" kern="0" dirty="0">
                <a:latin typeface="Arial" panose="020B0604020202020204" pitchFamily="34" charset="0"/>
                <a:cs typeface="Arial" panose="020B0604020202020204" pitchFamily="34" charset="0"/>
              </a:rPr>
              <a:t> – Construcción, Operación y Traspaso. EJECUCIÓN MATERIAL – RESPONSABILIDAD </a:t>
            </a:r>
            <a:r>
              <a:rPr lang="es-ES" sz="1200" kern="0" dirty="0" err="1">
                <a:latin typeface="Arial" panose="020B0604020202020204" pitchFamily="34" charset="0"/>
                <a:cs typeface="Arial" panose="020B0604020202020204" pitchFamily="34" charset="0"/>
              </a:rPr>
              <a:t>OyM</a:t>
            </a:r>
            <a:r>
              <a:rPr lang="es-ES" sz="1200" kern="0" dirty="0">
                <a:latin typeface="Arial" panose="020B0604020202020204" pitchFamily="34" charset="0"/>
                <a:cs typeface="Arial" panose="020B0604020202020204" pitchFamily="34" charset="0"/>
              </a:rPr>
              <a:t> ACTIVOS – INVERSIÓN FINANCIACIÓN Y ADMINISTRACIÓN – FINALIZACIÓN CONTRATO – TRASPASO DE INFRAESTRUCTURA. </a:t>
            </a:r>
          </a:p>
          <a:p>
            <a:endParaRPr lang="es-E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SERVICIO AMUEBLAMIENTO PARCELA – DISEÑO Y EJECUCIÓN. </a:t>
            </a:r>
          </a:p>
          <a:p>
            <a:endParaRPr lang="es-E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CENTRAL DE COMPRAS SUEZ – SUMINISTROS MATERIAL RED Y EQUIPOS HIDRÁULICOS. </a:t>
            </a:r>
            <a:endParaRPr lang="es-ES" sz="1200" dirty="0">
              <a:latin typeface="+mn-lt"/>
            </a:endParaRPr>
          </a:p>
          <a:p>
            <a:endParaRPr lang="es-ES" noProof="0" dirty="0"/>
          </a:p>
        </p:txBody>
      </p:sp>
      <p:sp>
        <p:nvSpPr>
          <p:cNvPr id="4" name="Conteni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F97AA-711E-4028-BFAB-0F9B2470C994}" type="slidenum">
              <a:rPr lang="ca-ES" smtClean="0"/>
              <a:t>13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11309155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b="1" cap="all" dirty="0"/>
              <a:t>AGUACANAL:</a:t>
            </a:r>
          </a:p>
          <a:p>
            <a:endParaRPr lang="es-ES" sz="1200" cap="all" dirty="0"/>
          </a:p>
          <a:p>
            <a:r>
              <a:rPr lang="es-ES" sz="1200" cap="all" dirty="0"/>
              <a:t>TRANSFORMACIÓN 20.000 HAS SECANO A REGADÍO - AUMENTO PRODUCTIVIDAD – AHORA MÁS DE 40 TIPOS DE CULTIVO DIFERENTES. MAÍZ, VIÑA, GUISANTE, GIRASOL, TOMATE, OLIVO, JUDÍA – MEJORA DE RENTABILIDAD. </a:t>
            </a:r>
          </a:p>
          <a:p>
            <a:endParaRPr lang="es-ES" sz="1200" cap="all" dirty="0"/>
          </a:p>
          <a:p>
            <a:pPr defTabSz="947684">
              <a:defRPr/>
            </a:pPr>
            <a:r>
              <a:rPr lang="es-ES" sz="1200" cap="all" dirty="0"/>
              <a:t>760 KM DE TUBERÍAS - 980 KM DE CAMINOS - 345 KM DE REDES DE DESAGÜE - 8 ESTACIONES DE BOMBEO - SISTEMA DE TELECONTROL.</a:t>
            </a:r>
          </a:p>
          <a:p>
            <a:pPr defTabSz="947684">
              <a:defRPr/>
            </a:pPr>
            <a:endParaRPr lang="es-ES" sz="1200" cap="all" dirty="0"/>
          </a:p>
          <a:p>
            <a:pPr defTabSz="947684">
              <a:defRPr/>
            </a:pPr>
            <a:r>
              <a:rPr lang="es-ES" sz="1200" cap="all" dirty="0"/>
              <a:t>3.625 HIDRANTES EN PARCELA – SUMINISTRO A DEMANDA EN CONTÍNUO - AGRICULTURA MÁS COMPETITIVA Y RESPETUOSA CON EL MEDIO AMBIENTE.</a:t>
            </a:r>
          </a:p>
          <a:p>
            <a:endParaRPr lang="es-ES" sz="1200" cap="all" dirty="0"/>
          </a:p>
          <a:p>
            <a:r>
              <a:rPr lang="es-ES" sz="1200" b="1" cap="all" dirty="0"/>
              <a:t>SEGARRA GARRIGUES </a:t>
            </a:r>
          </a:p>
          <a:p>
            <a:endParaRPr lang="es-ES" sz="1200" cap="all" dirty="0"/>
          </a:p>
          <a:p>
            <a:pPr rtl="0"/>
            <a:r>
              <a:rPr lang="es-ES" sz="1200" dirty="0"/>
              <a:t>SUPERFICIE REGADÍO 70.000 HAS - 3.500 km TUBERIAS – 43 BALSAS – 17 ESTACIONES DE BOMBEO – 342 HM3 DOTACIÓN – 16.000 USUARIOS.  </a:t>
            </a:r>
          </a:p>
        </p:txBody>
      </p:sp>
      <p:sp>
        <p:nvSpPr>
          <p:cNvPr id="4" name="Conteni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F97AA-711E-4028-BFAB-0F9B2470C994}" type="slidenum">
              <a:rPr lang="ca-ES" smtClean="0"/>
              <a:t>14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4401465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Conteni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F97AA-711E-4028-BFAB-0F9B2470C994}" type="slidenum">
              <a:rPr lang="ca-ES" smtClean="0"/>
              <a:t>15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639013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90EA95-C20D-4762-BF39-01DA814B1CA0}" type="slidenum">
              <a:rPr lang="fr-FR" altLang="fr-FR" smtClean="0"/>
              <a:pPr>
                <a:defRPr/>
              </a:pPr>
              <a:t>2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550761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90EA95-C20D-4762-BF39-01DA814B1CA0}" type="slidenum">
              <a:rPr lang="fr-FR" altLang="fr-FR" smtClean="0"/>
              <a:pPr>
                <a:defRPr/>
              </a:pPr>
              <a:t>3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35957516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90EA95-C20D-4762-BF39-01DA814B1CA0}" type="slidenum">
              <a:rPr lang="fr-FR" altLang="fr-FR" smtClean="0"/>
              <a:pPr>
                <a:defRPr/>
              </a:pPr>
              <a:t>4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40170359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Conteni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F97AA-711E-4028-BFAB-0F9B2470C994}" type="slidenum">
              <a:rPr lang="ca-ES" smtClean="0"/>
              <a:t>5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2331914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Conteni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F97AA-711E-4028-BFAB-0F9B2470C994}" type="slidenum">
              <a:rPr lang="ca-ES" smtClean="0"/>
              <a:t>6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5321721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90EA95-C20D-4762-BF39-01DA814B1CA0}" type="slidenum">
              <a:rPr lang="fr-FR" altLang="fr-FR" smtClean="0"/>
              <a:pPr>
                <a:defRPr/>
              </a:pPr>
              <a:t>7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37497025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050" dirty="0" smtClean="0"/>
              <a:t>PROPUESTA INTEGRAL: 1. GESTION</a:t>
            </a:r>
            <a:r>
              <a:rPr lang="es-ES" sz="1050" baseline="0" dirty="0" smtClean="0"/>
              <a:t> ACTIVOS CAPTACIÓN Y TRANSPORTE </a:t>
            </a:r>
            <a:r>
              <a:rPr lang="es-ES" sz="1050" baseline="0" dirty="0" smtClean="0"/>
              <a:t> </a:t>
            </a:r>
          </a:p>
          <a:p>
            <a:r>
              <a:rPr lang="es-ES" sz="1050" baseline="0" dirty="0" smtClean="0"/>
              <a:t>	               2</a:t>
            </a:r>
            <a:r>
              <a:rPr lang="es-ES" sz="1050" baseline="0" dirty="0" smtClean="0"/>
              <a:t>. GESTIÓN DE PARCELA – CULTIVO. </a:t>
            </a:r>
          </a:p>
          <a:p>
            <a:endParaRPr lang="es-ES" sz="1050" baseline="0" dirty="0" smtClean="0"/>
          </a:p>
          <a:p>
            <a:r>
              <a:rPr lang="es-ES" sz="1050" baseline="0" dirty="0" smtClean="0"/>
              <a:t>AGRICULTURA ACTIVIDAD ECONOMICA </a:t>
            </a:r>
            <a:r>
              <a:rPr lang="es-ES" sz="1050" dirty="0" smtClean="0"/>
              <a:t> - OPTIMIZACIÓN</a:t>
            </a:r>
            <a:r>
              <a:rPr lang="es-ES" sz="1050" baseline="0" dirty="0" smtClean="0"/>
              <a:t> COSTES – MEJORAR RENTABILIDAD. </a:t>
            </a:r>
          </a:p>
          <a:p>
            <a:r>
              <a:rPr lang="es-ES" sz="1050" baseline="0" dirty="0" smtClean="0"/>
              <a:t>AGUA ESCASA - BUENA GESTIÓN AGUA REDUCIMOS CONSUMO – ENERGÍA Y ABONOS – REDUCCIÓN IMPACTO AMBIENTAL </a:t>
            </a:r>
          </a:p>
          <a:p>
            <a:endParaRPr lang="es-ES" sz="1050" baseline="0" dirty="0" smtClean="0"/>
          </a:p>
          <a:p>
            <a:r>
              <a:rPr lang="es-ES" sz="1050" baseline="0" dirty="0" smtClean="0"/>
              <a:t>PARÁMETROS SOSTENIBILIDAD – HUELLA HIDRICA Y HUELLA CARBONO - CADA VEZ MÁS IMPORTANTES PERCEPCIÓN CONSUMIDOR – ES POSIBLE QUE APORTEN VALOR AL PRODUCTO – MEJORA RENTABILIDAD COMERCIALIZACIÓN.  </a:t>
            </a:r>
            <a:endParaRPr lang="es-ES" sz="1050" baseline="0" dirty="0" smtClean="0"/>
          </a:p>
          <a:p>
            <a:endParaRPr lang="es-ES" sz="1050" baseline="0" dirty="0" smtClean="0"/>
          </a:p>
          <a:p>
            <a:r>
              <a:rPr lang="es-ES" sz="1050" baseline="0" dirty="0" smtClean="0"/>
              <a:t>ELECCIÓN CORRECTA CULTIVO Y OPTIMIZACIÓN RIEGO DETERMINAN NECESIDADES PARCELA – NECESIDADES COMUNIDAD REGANTES – PLANIFICACIÓN CORRECTA DE ACTIVOS: BALSAS, BOMBEOS OPTIMIZACIÓN ENERGÉTICA Y APROVECHAMIENTO DEL AGUA – DISMINUCIÓN INCERTIDUMBRE EN DISPONIBILIDAD. </a:t>
            </a:r>
          </a:p>
          <a:p>
            <a:endParaRPr lang="es-ES" sz="1050" baseline="0" dirty="0" smtClean="0"/>
          </a:p>
          <a:p>
            <a:r>
              <a:rPr lang="es-ES" sz="1050" baseline="0" dirty="0" smtClean="0"/>
              <a:t>OPTIMIZACIÓN Y GESTIÓN - MEDIR – ANALIZAR – ACTUAR – IMPRESCINDIBLES TODAS Y EN ESE ORDEN.  EQUIPOS DE MEDIDA – CONOCIMIENTO – TECNOLOGÍA. </a:t>
            </a:r>
          </a:p>
          <a:p>
            <a:endParaRPr lang="es-ES" sz="1050" baseline="0" dirty="0" smtClean="0"/>
          </a:p>
          <a:p>
            <a:r>
              <a:rPr lang="es-ES" sz="1050" baseline="0" dirty="0" smtClean="0"/>
              <a:t>RELACIÓN DE CAPÍTULOS DE CADA BLOQUE…  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90EA95-C20D-4762-BF39-01DA814B1CA0}" type="slidenum">
              <a:rPr lang="fr-FR" altLang="fr-FR" smtClean="0"/>
              <a:pPr>
                <a:defRPr/>
              </a:pPr>
              <a:t>8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19454541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dirty="0">
                <a:solidFill>
                  <a:schemeClr val="tx1"/>
                </a:solidFill>
              </a:rPr>
              <a:t>PROBLEMA FALTA AGUA – PROBLEMA COSTE ENERGÍA. </a:t>
            </a:r>
          </a:p>
          <a:p>
            <a:r>
              <a:rPr lang="es-ES" sz="1200" dirty="0">
                <a:solidFill>
                  <a:schemeClr val="tx1"/>
                </a:solidFill>
              </a:rPr>
              <a:t>MODERNIZACIÓN REGADIÓS – INCREMENTO CONSUMO ENERGÍA. </a:t>
            </a:r>
          </a:p>
          <a:p>
            <a:endParaRPr lang="es-ES" sz="1200" dirty="0">
              <a:solidFill>
                <a:schemeClr val="tx1"/>
              </a:solidFill>
            </a:endParaRPr>
          </a:p>
          <a:p>
            <a:r>
              <a:rPr lang="es-ES" sz="1200" b="1" dirty="0">
                <a:solidFill>
                  <a:schemeClr val="tx1"/>
                </a:solidFill>
              </a:rPr>
              <a:t>Auditorías energéticas y determinación del potencial renovable de las instalaciones</a:t>
            </a:r>
            <a:r>
              <a:rPr lang="es-ES" sz="1200" dirty="0" smtClean="0">
                <a:solidFill>
                  <a:schemeClr val="tx1"/>
                </a:solidFill>
              </a:rPr>
              <a:t>.</a:t>
            </a:r>
          </a:p>
          <a:p>
            <a:endParaRPr lang="es-ES" sz="1200" dirty="0">
              <a:solidFill>
                <a:schemeClr val="tx1"/>
              </a:solidFill>
            </a:endParaRPr>
          </a:p>
          <a:p>
            <a:r>
              <a:rPr lang="es-ES" sz="1200" dirty="0">
                <a:solidFill>
                  <a:schemeClr val="tx1"/>
                </a:solidFill>
              </a:rPr>
              <a:t>EVALUAR EQUIPOS Y FUNCIONAMIENTO – POSIBILIDAD DE MEJORA – AHORRO POTENCIAL – INVERSIÓN NECESARIA – SOLUCIONES REALES – RAPIDA RENTABILIZACIÓN. </a:t>
            </a:r>
          </a:p>
          <a:p>
            <a:endParaRPr lang="es-ES" sz="1200" dirty="0">
              <a:solidFill>
                <a:schemeClr val="tx1"/>
              </a:solidFill>
            </a:endParaRPr>
          </a:p>
          <a:p>
            <a:r>
              <a:rPr lang="es-ES" sz="1200" b="1" dirty="0" smtClean="0">
                <a:solidFill>
                  <a:schemeClr val="tx1"/>
                </a:solidFill>
              </a:rPr>
              <a:t>Aprovechamiento </a:t>
            </a:r>
            <a:r>
              <a:rPr lang="es-ES" sz="1200" b="1" dirty="0">
                <a:solidFill>
                  <a:schemeClr val="tx1"/>
                </a:solidFill>
              </a:rPr>
              <a:t>de energías renovables</a:t>
            </a:r>
          </a:p>
          <a:p>
            <a:endParaRPr lang="es-ES" sz="1200" b="1" dirty="0">
              <a:solidFill>
                <a:schemeClr val="tx1"/>
              </a:solidFill>
            </a:endParaRPr>
          </a:p>
          <a:p>
            <a:r>
              <a:rPr lang="es-ES" sz="1200" dirty="0">
                <a:solidFill>
                  <a:schemeClr val="tx1"/>
                </a:solidFill>
              </a:rPr>
              <a:t>REDUCCIÓN COSTES Y DEPENDENCIA SISTEMA ELECTRICO – CONTRIBUCIÓN MEDIAMBIENTAL - ANALIZAMOS CADA CASO – SOLUCIÓN MÁS ADECUADA. </a:t>
            </a:r>
          </a:p>
          <a:p>
            <a:endParaRPr lang="es-ES" sz="1200" dirty="0">
              <a:solidFill>
                <a:schemeClr val="tx1"/>
              </a:solidFill>
            </a:endParaRPr>
          </a:p>
          <a:p>
            <a:r>
              <a:rPr lang="es-ES" sz="1200" b="1" dirty="0">
                <a:solidFill>
                  <a:schemeClr val="tx1"/>
                </a:solidFill>
              </a:rPr>
              <a:t>Energía </a:t>
            </a:r>
            <a:r>
              <a:rPr lang="es-ES" sz="1200" b="1" dirty="0" err="1">
                <a:solidFill>
                  <a:schemeClr val="tx1"/>
                </a:solidFill>
              </a:rPr>
              <a:t>Minihidraúlica</a:t>
            </a:r>
            <a:r>
              <a:rPr lang="es-ES" sz="1200" b="1" dirty="0">
                <a:solidFill>
                  <a:schemeClr val="tx1"/>
                </a:solidFill>
              </a:rPr>
              <a:t> </a:t>
            </a:r>
          </a:p>
          <a:p>
            <a:endParaRPr lang="es-ES" sz="1200" b="1" dirty="0">
              <a:solidFill>
                <a:schemeClr val="tx1"/>
              </a:solidFill>
            </a:endParaRPr>
          </a:p>
          <a:p>
            <a:r>
              <a:rPr lang="es-ES" sz="1200" dirty="0">
                <a:solidFill>
                  <a:schemeClr val="tx1"/>
                </a:solidFill>
              </a:rPr>
              <a:t>BOMBAS FUNCIONANDO COMO TURBINAS – SIMPLIFICAMOS Y ABARATAMOS TECNOLOGÍA TURBINAS -. RECUPERACIÓN ENERGÍA AGUA REDES PARA SU CONSUMO O VENTA A RED – LLAVE EN MANO – FINANCIACIÓN – AMORTIZACIÓN MEDIANTES AHORROS  </a:t>
            </a:r>
          </a:p>
          <a:p>
            <a:endParaRPr lang="es-ES" sz="1200" dirty="0">
              <a:solidFill>
                <a:schemeClr val="tx1"/>
              </a:solidFill>
            </a:endParaRPr>
          </a:p>
          <a:p>
            <a:r>
              <a:rPr lang="es-ES" sz="1200" b="1" dirty="0">
                <a:solidFill>
                  <a:schemeClr val="tx1"/>
                </a:solidFill>
              </a:rPr>
              <a:t>Generadores Fotovoltaicos para bombeo</a:t>
            </a:r>
            <a:r>
              <a:rPr lang="es-ES" sz="1200" dirty="0">
                <a:solidFill>
                  <a:schemeClr val="tx1"/>
                </a:solidFill>
              </a:rPr>
              <a:t>, </a:t>
            </a:r>
          </a:p>
          <a:p>
            <a:endParaRPr lang="es-ES" sz="1200" dirty="0">
              <a:solidFill>
                <a:schemeClr val="tx1"/>
              </a:solidFill>
            </a:endParaRPr>
          </a:p>
          <a:p>
            <a:r>
              <a:rPr lang="es-ES" sz="1200" dirty="0">
                <a:solidFill>
                  <a:schemeClr val="tx1"/>
                </a:solidFill>
              </a:rPr>
              <a:t>DIMENSIONAMIENTO VOLUMEN AGUA IMPULSADO EN CADA PERIODO – CURVA CARACTERÍSTICA BOMBA – OPTIMIZACIÓN POTENCIA – GARANTIA DE FUNCIONAMIENTO PARÁMETROS HIDRAULICOS – TECNOLOGÍA GESTIÓN PASO DE NUBE – DISMINUCIÓN PÉRDIDAS SOMBRA Y PROBLEMAS FUNCIONAMIENTO – LLAVE EN MANO – FINANCIACIÓN – AMORTIZACIÓN MEIDANTE AHORROS – OPCIÓN EJECUCION Y EXPLOTACIÓNM AMORTIZANDO INSTALACIÓN PAGANDO POR EL AGUA CONSUMIDA A PRECIO INFERIOR. </a:t>
            </a:r>
          </a:p>
          <a:p>
            <a:endParaRPr lang="es-ES" sz="1200" dirty="0">
              <a:solidFill>
                <a:schemeClr val="tx1"/>
              </a:solidFill>
            </a:endParaRPr>
          </a:p>
          <a:p>
            <a:pPr defTabSz="947684">
              <a:defRPr/>
            </a:pPr>
            <a:r>
              <a:rPr lang="es-ES" sz="1200" b="1" dirty="0">
                <a:solidFill>
                  <a:schemeClr val="tx1"/>
                </a:solidFill>
              </a:rPr>
              <a:t>Optimización de bombeos</a:t>
            </a:r>
            <a:r>
              <a:rPr lang="es-ES" sz="1200" dirty="0">
                <a:solidFill>
                  <a:schemeClr val="tx1"/>
                </a:solidFill>
              </a:rPr>
              <a:t>. </a:t>
            </a:r>
          </a:p>
          <a:p>
            <a:pPr defTabSz="947684">
              <a:defRPr/>
            </a:pPr>
            <a:endParaRPr lang="es-ES" sz="1200" dirty="0">
              <a:solidFill>
                <a:schemeClr val="tx1"/>
              </a:solidFill>
            </a:endParaRPr>
          </a:p>
          <a:p>
            <a:pPr defTabSz="947684">
              <a:defRPr/>
            </a:pPr>
            <a:r>
              <a:rPr lang="es-ES" sz="1200" dirty="0">
                <a:solidFill>
                  <a:schemeClr val="tx1"/>
                </a:solidFill>
              </a:rPr>
              <a:t>MEJORA RENDIMIENTOS SISTEMAS DE BOMBEO – CASO RIEGOS A DEMANDA – GRAN EXPERIENCIA ABASTECIMIENTO - DESARROLLO TECNOLOGÍA MODELIZACIÓN BOMBEOS – CURVA DEMANDA – NUEVA CONFIGURACIÓN - OPTIMIZACIÓN CONSUMO ENERGÍA Y POTENCIA – AHORROS &gt;50% - RETORNOS 2-3 AÑOS</a:t>
            </a:r>
          </a:p>
          <a:p>
            <a:pPr defTabSz="947684">
              <a:defRPr/>
            </a:pPr>
            <a:endParaRPr lang="es-ES" sz="1200" dirty="0">
              <a:solidFill>
                <a:schemeClr val="tx1"/>
              </a:solidFill>
            </a:endParaRPr>
          </a:p>
          <a:p>
            <a:r>
              <a:rPr lang="es-ES" sz="1200" b="1" dirty="0">
                <a:solidFill>
                  <a:schemeClr val="tx1"/>
                </a:solidFill>
              </a:rPr>
              <a:t>Huella de Carbono</a:t>
            </a:r>
            <a:r>
              <a:rPr lang="es-ES" sz="1200" dirty="0">
                <a:solidFill>
                  <a:schemeClr val="tx1"/>
                </a:solidFill>
              </a:rPr>
              <a:t>.</a:t>
            </a:r>
          </a:p>
          <a:p>
            <a:endParaRPr lang="es-ES" sz="1200" dirty="0">
              <a:solidFill>
                <a:schemeClr val="tx1"/>
              </a:solidFill>
            </a:endParaRPr>
          </a:p>
          <a:p>
            <a:r>
              <a:rPr lang="es-ES" sz="1200" dirty="0">
                <a:solidFill>
                  <a:schemeClr val="tx1"/>
                </a:solidFill>
              </a:rPr>
              <a:t>CERTIFICACIÓN PROCESOS PRODUCTIVOS – EMISIONES CO2 PRODUCCION BIENES O SERVICIOS – VALOR AÑADIDO. </a:t>
            </a:r>
          </a:p>
          <a:p>
            <a:endParaRPr lang="es-ES" sz="1200" dirty="0">
              <a:solidFill>
                <a:schemeClr val="tx1"/>
              </a:solidFill>
            </a:endParaRPr>
          </a:p>
          <a:p>
            <a:r>
              <a:rPr lang="es-ES" sz="1200" b="1" dirty="0">
                <a:solidFill>
                  <a:schemeClr val="tx1"/>
                </a:solidFill>
              </a:rPr>
              <a:t>Proyectos energéticos</a:t>
            </a:r>
            <a:r>
              <a:rPr lang="es-ES" sz="1200" dirty="0">
                <a:solidFill>
                  <a:schemeClr val="tx1"/>
                </a:solidFill>
              </a:rPr>
              <a:t>, </a:t>
            </a:r>
          </a:p>
          <a:p>
            <a:endParaRPr lang="es-ES" sz="1200" dirty="0">
              <a:solidFill>
                <a:schemeClr val="tx1"/>
              </a:solidFill>
            </a:endParaRPr>
          </a:p>
          <a:p>
            <a:r>
              <a:rPr lang="es-ES" sz="1200" dirty="0">
                <a:solidFill>
                  <a:schemeClr val="tx1"/>
                </a:solidFill>
              </a:rPr>
              <a:t>GESTIÍON COMPRA Y FACTURACIÓN – MONITORIZACIÓN CONSUMOS Y ANALISIS – COGENERACIÓN – CUALQUIER NECESIDAD. </a:t>
            </a:r>
          </a:p>
          <a:p>
            <a:endParaRPr lang="es-ES" baseline="0" dirty="0" smtClean="0"/>
          </a:p>
          <a:p>
            <a:endParaRPr lang="es-ES" baseline="0" dirty="0" smtClean="0"/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90EA95-C20D-4762-BF39-01DA814B1CA0}" type="slidenum">
              <a:rPr lang="fr-FR" altLang="fr-FR" smtClean="0"/>
              <a:pPr>
                <a:defRPr/>
              </a:pPr>
              <a:t>9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568472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2133600"/>
            <a:ext cx="7921625" cy="90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 smtClean="0"/>
              <a:t>Subtit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58775" y="3034800"/>
            <a:ext cx="7921625" cy="900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en-GB" noProof="0" dirty="0" smtClean="0"/>
              <a:t>Text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 noProof="0" dirty="0" smtClean="0"/>
              <a:t>document title - date (Personalise the footer with "Insert / Header and Footer)</a:t>
            </a:r>
            <a:endParaRPr lang="en-GB" noProof="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24368A89-9C7F-43A7-BE10-515E8145AD10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42870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_BG_blu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 descr="FD-0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8775" y="3034800"/>
            <a:ext cx="7921625" cy="2986588"/>
          </a:xfrm>
        </p:spPr>
        <p:txBody>
          <a:bodyPr anchor="t" anchorCtr="0"/>
          <a:lstStyle>
            <a:lvl1pPr>
              <a:lnSpc>
                <a:spcPct val="100000"/>
              </a:lnSpc>
              <a:defRPr sz="2400" b="0"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altLang="fr-FR" noProof="0" dirty="0" smtClean="0"/>
              <a:t>document title - date (Personalise the footer with "Insert / Header and Footer)</a:t>
            </a:r>
            <a:endParaRPr lang="en-GB" altLang="fr-FR" noProof="0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2BC85812-F953-4AE8-878A-A89F38174EA6}" type="slidenum">
              <a:rPr lang="en-GB" altLang="fr-FR" noProof="0" smtClean="0"/>
              <a:pPr/>
              <a:t>‹Nº›</a:t>
            </a:fld>
            <a:r>
              <a:rPr lang="en-GB" altLang="fr-FR" noProof="0" dirty="0" smtClean="0"/>
              <a:t> I</a:t>
            </a:r>
            <a:endParaRPr lang="en-GB" altLang="fr-FR" noProof="0" dirty="0"/>
          </a:p>
        </p:txBody>
      </p:sp>
      <p:pic>
        <p:nvPicPr>
          <p:cNvPr id="9" name="Imag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00" y="6138000"/>
            <a:ext cx="14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719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_BG_blu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 descr="FD-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8775" y="3034800"/>
            <a:ext cx="7921625" cy="2986588"/>
          </a:xfrm>
        </p:spPr>
        <p:txBody>
          <a:bodyPr anchor="t" anchorCtr="0"/>
          <a:lstStyle>
            <a:lvl1pPr>
              <a:lnSpc>
                <a:spcPct val="100000"/>
              </a:lnSpc>
              <a:defRPr sz="2400" b="0"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altLang="fr-FR" noProof="0" dirty="0" smtClean="0"/>
              <a:t>document title - date (Personalise the footer with "Insert / Header and Footer)</a:t>
            </a:r>
            <a:endParaRPr lang="en-GB" altLang="fr-FR" noProof="0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2BC85812-F953-4AE8-878A-A89F38174EA6}" type="slidenum">
              <a:rPr lang="en-GB" altLang="fr-FR" noProof="0" smtClean="0"/>
              <a:pPr/>
              <a:t>‹Nº›</a:t>
            </a:fld>
            <a:r>
              <a:rPr lang="en-GB" altLang="fr-FR" noProof="0" dirty="0" smtClean="0"/>
              <a:t> I</a:t>
            </a:r>
            <a:endParaRPr lang="en-GB" altLang="fr-FR" noProof="0" dirty="0"/>
          </a:p>
        </p:txBody>
      </p:sp>
      <p:pic>
        <p:nvPicPr>
          <p:cNvPr id="8" name="Imag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00" y="6138000"/>
            <a:ext cx="14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69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4"/>
          </p:nvPr>
        </p:nvSpPr>
        <p:spPr bwMode="gray">
          <a:xfrm>
            <a:off x="358775" y="1808163"/>
            <a:ext cx="7921625" cy="4213225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endParaRPr lang="fr-FR" altLang="fr-FR" dirty="0" smtClean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9"/>
          </p:nvPr>
        </p:nvSpPr>
        <p:spPr>
          <a:xfrm>
            <a:off x="0" y="6381750"/>
            <a:ext cx="684213" cy="4667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458E91-CDBF-462D-A2E2-C578D326596C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693299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7"/>
          <p:cNvSpPr>
            <a:spLocks noGrp="1"/>
          </p:cNvSpPr>
          <p:nvPr>
            <p:ph type="body" sz="quarter" idx="14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2" name="Espace réservé du texte 9"/>
          <p:cNvSpPr>
            <a:spLocks noGrp="1"/>
          </p:cNvSpPr>
          <p:nvPr>
            <p:ph type="body" sz="quarter" idx="15"/>
          </p:nvPr>
        </p:nvSpPr>
        <p:spPr bwMode="gray">
          <a:xfrm>
            <a:off x="358775" y="1808163"/>
            <a:ext cx="3925438" cy="4213225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6"/>
          </p:nvPr>
        </p:nvSpPr>
        <p:spPr bwMode="gray">
          <a:xfrm>
            <a:off x="4354471" y="1808163"/>
            <a:ext cx="3925930" cy="4213225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458E91-CDBF-462D-A2E2-C578D326596C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200121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6"/>
          </p:nvPr>
        </p:nvSpPr>
        <p:spPr>
          <a:xfrm>
            <a:off x="16668" y="6373512"/>
            <a:ext cx="684213" cy="188912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0" y="6381750"/>
            <a:ext cx="684213" cy="466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5400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solidFill>
                  <a:srgbClr val="AADC14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E0508A64-61F6-421B-9670-70656F920D0F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4115420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808163"/>
            <a:ext cx="3600000" cy="421322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9"/>
          </p:nvPr>
        </p:nvSpPr>
        <p:spPr bwMode="gray">
          <a:xfrm>
            <a:off x="4680400" y="1808163"/>
            <a:ext cx="3600000" cy="421322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48BF5D-1155-45F5-A97E-AE22571DE1B3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367133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texte e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808163"/>
            <a:ext cx="3276000" cy="421322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4321175" y="1808162"/>
            <a:ext cx="3959225" cy="4213226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AF9C8C-F1CA-442A-A1BB-4C8C76996317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130060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texte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808163"/>
            <a:ext cx="3276000" cy="421322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4572000" y="1233488"/>
            <a:ext cx="4572000" cy="47879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6E52FE-C170-4F9F-9905-F50E8037B901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2887228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358775" y="1238479"/>
            <a:ext cx="8785225" cy="4782909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1"/>
            <a:ext cx="7921625" cy="8302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20"/>
          </p:nvPr>
        </p:nvSpPr>
        <p:spPr bwMode="gray">
          <a:xfrm>
            <a:off x="1008000" y="2206800"/>
            <a:ext cx="1900276" cy="2863878"/>
          </a:xfrm>
          <a:custGeom>
            <a:avLst/>
            <a:gdLst>
              <a:gd name="connsiteX0" fmla="*/ 950932 w 1900276"/>
              <a:gd name="connsiteY0" fmla="*/ 13 h 2863878"/>
              <a:gd name="connsiteX1" fmla="*/ 1900257 w 1900276"/>
              <a:gd name="connsiteY1" fmla="*/ 1901837 h 2863878"/>
              <a:gd name="connsiteX2" fmla="*/ 950932 w 1900276"/>
              <a:gd name="connsiteY2" fmla="*/ 2863862 h 2863878"/>
              <a:gd name="connsiteX3" fmla="*/ 20 w 1900276"/>
              <a:gd name="connsiteY3" fmla="*/ 1901837 h 2863878"/>
              <a:gd name="connsiteX4" fmla="*/ 950932 w 1900276"/>
              <a:gd name="connsiteY4" fmla="*/ 13 h 2863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0276" h="2863878">
                <a:moveTo>
                  <a:pt x="950932" y="13"/>
                </a:moveTo>
                <a:cubicBezTo>
                  <a:pt x="950932" y="4775"/>
                  <a:pt x="1897082" y="1339862"/>
                  <a:pt x="1900257" y="1901837"/>
                </a:cubicBezTo>
                <a:cubicBezTo>
                  <a:pt x="1903432" y="2401900"/>
                  <a:pt x="1516082" y="2867037"/>
                  <a:pt x="950932" y="2863862"/>
                </a:cubicBezTo>
                <a:cubicBezTo>
                  <a:pt x="382608" y="2860687"/>
                  <a:pt x="-3155" y="2392375"/>
                  <a:pt x="20" y="1901837"/>
                </a:cubicBezTo>
                <a:cubicBezTo>
                  <a:pt x="7958" y="1344625"/>
                  <a:pt x="949345" y="-4750"/>
                  <a:pt x="950932" y="1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bIns="72000" anchor="ctr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3800">
                <a:solidFill>
                  <a:schemeClr val="bg1"/>
                </a:solidFill>
              </a:defRPr>
            </a:lvl1pPr>
            <a:lvl2pPr algn="ctr">
              <a:lnSpc>
                <a:spcPct val="90000"/>
              </a:lnSpc>
              <a:defRPr sz="19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C10DDA-7A49-41E5-A179-C1A34E37C0A7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2700094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8101013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808163"/>
            <a:ext cx="2268000" cy="936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3438000" y="1808163"/>
            <a:ext cx="2268000" cy="936000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/>
          </p:nvPr>
        </p:nvSpPr>
        <p:spPr bwMode="gray">
          <a:xfrm>
            <a:off x="6537600" y="1807200"/>
            <a:ext cx="2268000" cy="936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22"/>
          </p:nvPr>
        </p:nvSpPr>
        <p:spPr bwMode="gray">
          <a:xfrm>
            <a:off x="358775" y="2744788"/>
            <a:ext cx="2808000" cy="3276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/>
          </p:nvPr>
        </p:nvSpPr>
        <p:spPr bwMode="gray">
          <a:xfrm>
            <a:off x="3348325" y="2743200"/>
            <a:ext cx="2808000" cy="3276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/>
          </p:nvPr>
        </p:nvSpPr>
        <p:spPr bwMode="gray">
          <a:xfrm>
            <a:off x="6336000" y="2744788"/>
            <a:ext cx="2808000" cy="3276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296864-CAA6-4E2D-B54F-59729E5BA7CE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62823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2133600"/>
            <a:ext cx="7921625" cy="90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 smtClean="0"/>
              <a:t>Subtit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58775" y="3034800"/>
            <a:ext cx="7921625" cy="900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en-GB" noProof="0" dirty="0" smtClean="0"/>
              <a:t>Text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5418000"/>
            <a:ext cx="9144000" cy="144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 noProof="0" dirty="0" smtClean="0"/>
              <a:t>document title - date (Personalise the footer with "Insert / Header and Footer)</a:t>
            </a:r>
            <a:endParaRPr lang="en-GB" noProof="0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4368A89-9C7F-43A7-BE10-515E8145AD10}" type="slidenum">
              <a:rPr lang="en-GB" noProof="0" smtClean="0"/>
              <a:pPr/>
              <a:t>‹Nº›</a:t>
            </a:fld>
            <a:endParaRPr lang="en-GB" noProof="0" dirty="0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solidFill>
            <a:schemeClr val="accent3"/>
          </a:solidFill>
        </p:spPr>
        <p:txBody>
          <a:bodyPr lIns="1080000" tIns="1188000" rIns="1188000" anchor="ctr" anchorCtr="0"/>
          <a:lstStyle>
            <a:lvl1pPr algn="ctr">
              <a:defRPr sz="1500"/>
            </a:lvl1pPr>
          </a:lstStyle>
          <a:p>
            <a:r>
              <a:rPr lang="en-GB" noProof="0" dirty="0" smtClean="0"/>
              <a:t>Select the icon to insert a picture then place the visual into background position (right click with the mouse / send to back)</a:t>
            </a:r>
          </a:p>
        </p:txBody>
      </p:sp>
    </p:spTree>
    <p:extLst>
      <p:ext uri="{BB962C8B-B14F-4D97-AF65-F5344CB8AC3E}">
        <p14:creationId xmlns:p14="http://schemas.microsoft.com/office/powerpoint/2010/main" val="1709729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8101013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808163"/>
            <a:ext cx="2268000" cy="936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/>
          </p:nvPr>
        </p:nvSpPr>
        <p:spPr bwMode="gray">
          <a:xfrm>
            <a:off x="6537600" y="1807200"/>
            <a:ext cx="2268000" cy="936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/>
          </p:nvPr>
        </p:nvSpPr>
        <p:spPr bwMode="gray">
          <a:xfrm>
            <a:off x="358775" y="2743200"/>
            <a:ext cx="5797550" cy="3276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/>
          </p:nvPr>
        </p:nvSpPr>
        <p:spPr bwMode="gray">
          <a:xfrm>
            <a:off x="6336000" y="2744788"/>
            <a:ext cx="2808000" cy="3276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231D3E-01BB-4271-B8DA-A48A936E072A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823115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phiques_Fon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0" y="1233488"/>
            <a:ext cx="9144000" cy="4787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1"/>
            <a:ext cx="8101013" cy="8302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684213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684213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3492000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3492000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3492000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/>
          </p:nvPr>
        </p:nvSpPr>
        <p:spPr bwMode="gray">
          <a:xfrm>
            <a:off x="6299788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/>
          </p:nvPr>
        </p:nvSpPr>
        <p:spPr bwMode="gray">
          <a:xfrm>
            <a:off x="6299788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/>
          </p:nvPr>
        </p:nvSpPr>
        <p:spPr bwMode="gray">
          <a:xfrm>
            <a:off x="6299788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4" name="Espace réservé de la date 9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6" name="Espace réservé du pied de page 10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7" name="Espace réservé du numéro de diapositive 1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124CC-991D-4492-83BA-4420ED2717BE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2730083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phiques_Fon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0" y="1233488"/>
            <a:ext cx="9144000" cy="4787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1"/>
            <a:ext cx="7921625" cy="8302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684213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684213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3492000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3492000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3492000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/>
          </p:nvPr>
        </p:nvSpPr>
        <p:spPr bwMode="gray">
          <a:xfrm>
            <a:off x="6299788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/>
          </p:nvPr>
        </p:nvSpPr>
        <p:spPr bwMode="gray">
          <a:xfrm>
            <a:off x="6299788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/>
          </p:nvPr>
        </p:nvSpPr>
        <p:spPr bwMode="gray">
          <a:xfrm>
            <a:off x="6299788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4" name="Espace réservé de la date 9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6" name="Espace réservé du pied de page 10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7" name="Espace réservé du numéro de diapositive 1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1A573F-3B0B-466F-8B0D-B6EE38D954C1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1355854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phiques_Fon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1233488"/>
            <a:ext cx="9144000" cy="47879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1"/>
            <a:ext cx="7921625" cy="8302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1368000" y="4654800"/>
            <a:ext cx="3204000" cy="1368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936000" y="2232000"/>
            <a:ext cx="3564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accent5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1368000" y="1808163"/>
            <a:ext cx="3204000" cy="36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5004000" y="4654800"/>
            <a:ext cx="3204000" cy="1368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4572000" y="2232000"/>
            <a:ext cx="3564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accent5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5004000" y="1808163"/>
            <a:ext cx="3204000" cy="36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e la date 9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2" name="Espace réservé du pied de page 10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4" name="Espace réservé du numéro de diapositive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F99D8A-BC8D-42C0-912F-AB4A56BCEFD0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179857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phiques_Fond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1233488"/>
            <a:ext cx="9144000" cy="4787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1"/>
            <a:ext cx="7921625" cy="8302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1368000" y="4654800"/>
            <a:ext cx="3204000" cy="1368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936000" y="2232000"/>
            <a:ext cx="3564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1368000" y="1808163"/>
            <a:ext cx="3204000" cy="36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5004000" y="4654800"/>
            <a:ext cx="3204000" cy="1368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4572000" y="2232000"/>
            <a:ext cx="3564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5004000" y="1808163"/>
            <a:ext cx="3204000" cy="36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e la date 9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2" name="Espace réservé du pied de page 10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4" name="Espace réservé du numéro de diapositive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39E98F-5AC1-4947-9235-23B4E59E2229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766862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text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808163"/>
            <a:ext cx="7596187" cy="93662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9"/>
          </p:nvPr>
        </p:nvSpPr>
        <p:spPr bwMode="gray">
          <a:xfrm>
            <a:off x="684213" y="2744788"/>
            <a:ext cx="7596187" cy="1980000"/>
          </a:xfrm>
        </p:spPr>
        <p:txBody>
          <a:bodyPr tIns="576000" anchor="ctr"/>
          <a:lstStyle>
            <a:lvl1pPr algn="ctr">
              <a:defRPr sz="1500" b="0"/>
            </a:lvl1pPr>
          </a:lstStyle>
          <a:p>
            <a:pPr lvl="0"/>
            <a:endParaRPr lang="fr-FR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0"/>
          </p:nvPr>
        </p:nvSpPr>
        <p:spPr bwMode="gray">
          <a:xfrm>
            <a:off x="684213" y="4834800"/>
            <a:ext cx="7596187" cy="828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/>
            </a:lvl1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7D27C7-EFD2-4897-B987-44B68B98F5F0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1120339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_Fond_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pic>
        <p:nvPicPr>
          <p:cNvPr id="5" name="Image 9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04138" y="6137275"/>
            <a:ext cx="143986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700">
                <a:solidFill>
                  <a:schemeClr val="accent4"/>
                </a:solidFill>
              </a:defRPr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6" name="Espace réservé de la date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Espace réservé du pied de page 10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 alt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numéro de diapositive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030F40"/>
                </a:solidFill>
              </a:defRPr>
            </a:lvl1pPr>
          </a:lstStyle>
          <a:p>
            <a:pPr>
              <a:defRPr/>
            </a:pPr>
            <a:fld id="{9B79BD52-7AFE-47E0-8998-554656C0CB24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709549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_Fond_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pic>
        <p:nvPicPr>
          <p:cNvPr id="5" name="Image 9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04138" y="6137275"/>
            <a:ext cx="143986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700">
                <a:solidFill>
                  <a:schemeClr val="accent3"/>
                </a:solidFill>
              </a:defRPr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6" name="Espace réservé de la date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Espace réservé du pied de page 10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 alt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numéro de diapositive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5A0B11-828D-4994-B9B5-48F380C80636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2768262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us-Chapitre_Fond_ver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 descr="FD_0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age 9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04138" y="6137275"/>
            <a:ext cx="143986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358775" y="3034800"/>
            <a:ext cx="7921625" cy="2986588"/>
          </a:xfrm>
        </p:spPr>
        <p:txBody>
          <a:bodyPr/>
          <a:lstStyle>
            <a:lvl1pPr>
              <a:lnSpc>
                <a:spcPct val="100000"/>
              </a:lnSpc>
              <a:defRPr sz="2400" b="0">
                <a:solidFill>
                  <a:schemeClr val="accent5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5" name="Espace réservé de la date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6" name="Espace réservé du pied de page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7" name="Espace réservé du numéro de diapositiv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FC455D-0ABE-4194-86B8-275779346452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225290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us-Chapitre_Fond_ver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D_05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age 9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04138" y="6137275"/>
            <a:ext cx="143986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358775" y="3034800"/>
            <a:ext cx="7921625" cy="2986588"/>
          </a:xfrm>
        </p:spPr>
        <p:txBody>
          <a:bodyPr/>
          <a:lstStyle>
            <a:lvl1pPr>
              <a:lnSpc>
                <a:spcPct val="100000"/>
              </a:lnSpc>
              <a:defRPr sz="2400" b="0">
                <a:solidFill>
                  <a:schemeClr val="accent5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5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6" name="Espace réservé du pied de page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7" name="Espace réservé du numéro de diapositive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F6C91F-5625-408D-814F-0BD3A08BF193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313060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5418000"/>
            <a:ext cx="9144000" cy="144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88137" y="0"/>
            <a:ext cx="3960000" cy="540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2133600"/>
            <a:ext cx="7921625" cy="90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 smtClean="0"/>
              <a:t>Subtit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58775" y="3034800"/>
            <a:ext cx="7921625" cy="900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en-GB" noProof="0" dirty="0" smtClean="0"/>
              <a:t>Text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 dirty="0" smtClean="0"/>
              <a:t>document title - date (Personalise the footer with "Insert / Header and Footer)</a:t>
            </a:r>
            <a:endParaRPr lang="en-GB" noProof="0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24368A89-9C7F-43A7-BE10-515E8145AD10}" type="slidenum">
              <a:rPr lang="en-GB" noProof="0" smtClean="0"/>
              <a:pPr/>
              <a:t>‹Nº›</a:t>
            </a:fld>
            <a:endParaRPr lang="en-GB" noProof="0" dirty="0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solidFill>
            <a:schemeClr val="accent5"/>
          </a:solidFill>
        </p:spPr>
        <p:txBody>
          <a:bodyPr lIns="1080000" tIns="1188000" rIns="1188000" anchor="ctr" anchorCtr="0"/>
          <a:lstStyle>
            <a:lvl1pPr algn="ctr">
              <a:defRPr sz="1500"/>
            </a:lvl1pPr>
          </a:lstStyle>
          <a:p>
            <a:r>
              <a:rPr lang="en-GB" noProof="0" dirty="0" smtClean="0"/>
              <a:t>Select the icon to insert a picture then place the visual into background position (right click with the mouse / send to back)</a:t>
            </a:r>
          </a:p>
        </p:txBody>
      </p:sp>
    </p:spTree>
    <p:extLst>
      <p:ext uri="{BB962C8B-B14F-4D97-AF65-F5344CB8AC3E}">
        <p14:creationId xmlns:p14="http://schemas.microsoft.com/office/powerpoint/2010/main" val="38170533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/1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3594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en-GB" noProof="0" dirty="0" smtClean="0"/>
              <a:t>Title</a:t>
            </a:r>
          </a:p>
          <a:p>
            <a:pPr lvl="1"/>
            <a:r>
              <a:rPr lang="en-GB" noProof="0" dirty="0" smtClean="0"/>
              <a:t>Sub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775" y="1808163"/>
            <a:ext cx="7921625" cy="4213225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en-GB" noProof="0" dirty="0" smtClean="0"/>
              <a:t>Text level 1</a:t>
            </a:r>
          </a:p>
          <a:p>
            <a:pPr lvl="1"/>
            <a:r>
              <a:rPr lang="en-GB" noProof="0" dirty="0" smtClean="0"/>
              <a:t>Text level 2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altLang="fr-FR" dirty="0" smtClean="0">
                <a:solidFill>
                  <a:srgbClr val="030F40"/>
                </a:solidFill>
              </a:rPr>
              <a:t>document title - date (Personalise the footer with "Insert / Header and Footer)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Nº›</a:t>
            </a:fld>
            <a:r>
              <a:rPr lang="en-GB" altLang="fr-FR" dirty="0" smtClean="0">
                <a:solidFill>
                  <a:srgbClr val="AADC14"/>
                </a:solidFill>
              </a:rPr>
              <a:t> I</a:t>
            </a:r>
            <a:endParaRPr lang="en-GB" altLang="fr-FR" dirty="0">
              <a:solidFill>
                <a:srgbClr val="AADC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634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4"/>
          </p:nvPr>
        </p:nvSpPr>
        <p:spPr bwMode="gray">
          <a:xfrm>
            <a:off x="358775" y="1808163"/>
            <a:ext cx="7921625" cy="4213225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fr-FR" altLang="fr-FR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0508A64-61F6-421B-9670-70656F920D0F}" type="slidenum">
              <a:rPr lang="fr-FR" altLang="fr-FR" smtClean="0"/>
              <a:pPr>
                <a:defRPr/>
              </a:pPr>
              <a:t>‹Nº›</a:t>
            </a:fld>
            <a:r>
              <a:rPr lang="fr-FR" altLang="fr-FR" dirty="0" smtClean="0"/>
              <a:t> I</a:t>
            </a:r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1728650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7"/>
          <p:cNvSpPr>
            <a:spLocks noGrp="1"/>
          </p:cNvSpPr>
          <p:nvPr>
            <p:ph type="body" sz="quarter" idx="14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2" name="Espace réservé du texte 9"/>
          <p:cNvSpPr>
            <a:spLocks noGrp="1"/>
          </p:cNvSpPr>
          <p:nvPr>
            <p:ph type="body" sz="quarter" idx="15"/>
          </p:nvPr>
        </p:nvSpPr>
        <p:spPr bwMode="gray">
          <a:xfrm>
            <a:off x="358775" y="1808163"/>
            <a:ext cx="3925438" cy="4213225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6"/>
          </p:nvPr>
        </p:nvSpPr>
        <p:spPr bwMode="gray">
          <a:xfrm>
            <a:off x="4354471" y="1808163"/>
            <a:ext cx="3925930" cy="4213225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458E91-CDBF-462D-A2E2-C578D326596C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800794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0" name="Rectangle 38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8460432" y="6489340"/>
            <a:ext cx="900100" cy="457200"/>
          </a:xfrm>
          <a:prstGeom prst="rect">
            <a:avLst/>
          </a:prstGeom>
          <a:extLst/>
        </p:spPr>
        <p:txBody>
          <a:bodyPr vert="horz" wrap="square" lIns="91325" tIns="45662" rIns="91325" bIns="45662" numCol="1" anchor="ctr" anchorCtr="0" compatLnSpc="1">
            <a:prstTxWarp prst="textNoShape">
              <a:avLst/>
            </a:prstTxWarp>
          </a:bodyPr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 b="0">
                <a:solidFill>
                  <a:schemeClr val="tx2"/>
                </a:solidFill>
                <a:latin typeface="Arial" charset="0"/>
              </a:defRPr>
            </a:lvl1pPr>
          </a:lstStyle>
          <a:p>
            <a:pPr>
              <a:defRPr/>
            </a:pPr>
            <a:fld id="{7C34A46C-0A4A-403D-9A98-F0134B40D41D}" type="slidenum">
              <a:rPr lang="fr-FR" altLang="fr-FR" smtClean="0">
                <a:solidFill>
                  <a:srgbClr val="767C97"/>
                </a:solidFill>
              </a:rPr>
              <a:pPr>
                <a:defRPr/>
              </a:pPr>
              <a:t>‹Nº›</a:t>
            </a:fld>
            <a:endParaRPr lang="fr-FR" altLang="fr-FR" dirty="0" smtClean="0">
              <a:solidFill>
                <a:srgbClr val="767C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568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808163"/>
            <a:ext cx="3600000" cy="421322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9"/>
          </p:nvPr>
        </p:nvSpPr>
        <p:spPr bwMode="gray">
          <a:xfrm>
            <a:off x="4680400" y="1808163"/>
            <a:ext cx="3600000" cy="421322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48BF5D-1155-45F5-A97E-AE22571DE1B3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186468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texte e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808163"/>
            <a:ext cx="3276000" cy="421322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4321175" y="1808162"/>
            <a:ext cx="3959225" cy="4213226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AF9C8C-F1CA-442A-A1BB-4C8C76996317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517512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texte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808163"/>
            <a:ext cx="3276000" cy="421322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4572000" y="1233488"/>
            <a:ext cx="4572000" cy="47879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6E52FE-C170-4F9F-9905-F50E8037B901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017195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358775" y="1238479"/>
            <a:ext cx="8785225" cy="4782909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1"/>
            <a:ext cx="7921625" cy="8302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20"/>
          </p:nvPr>
        </p:nvSpPr>
        <p:spPr bwMode="gray">
          <a:xfrm>
            <a:off x="1008000" y="2206800"/>
            <a:ext cx="1900276" cy="2863878"/>
          </a:xfrm>
          <a:custGeom>
            <a:avLst/>
            <a:gdLst>
              <a:gd name="connsiteX0" fmla="*/ 950932 w 1900276"/>
              <a:gd name="connsiteY0" fmla="*/ 13 h 2863878"/>
              <a:gd name="connsiteX1" fmla="*/ 1900257 w 1900276"/>
              <a:gd name="connsiteY1" fmla="*/ 1901837 h 2863878"/>
              <a:gd name="connsiteX2" fmla="*/ 950932 w 1900276"/>
              <a:gd name="connsiteY2" fmla="*/ 2863862 h 2863878"/>
              <a:gd name="connsiteX3" fmla="*/ 20 w 1900276"/>
              <a:gd name="connsiteY3" fmla="*/ 1901837 h 2863878"/>
              <a:gd name="connsiteX4" fmla="*/ 950932 w 1900276"/>
              <a:gd name="connsiteY4" fmla="*/ 13 h 2863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0276" h="2863878">
                <a:moveTo>
                  <a:pt x="950932" y="13"/>
                </a:moveTo>
                <a:cubicBezTo>
                  <a:pt x="950932" y="4775"/>
                  <a:pt x="1897082" y="1339862"/>
                  <a:pt x="1900257" y="1901837"/>
                </a:cubicBezTo>
                <a:cubicBezTo>
                  <a:pt x="1903432" y="2401900"/>
                  <a:pt x="1516082" y="2867037"/>
                  <a:pt x="950932" y="2863862"/>
                </a:cubicBezTo>
                <a:cubicBezTo>
                  <a:pt x="382608" y="2860687"/>
                  <a:pt x="-3155" y="2392375"/>
                  <a:pt x="20" y="1901837"/>
                </a:cubicBezTo>
                <a:cubicBezTo>
                  <a:pt x="7958" y="1344625"/>
                  <a:pt x="949345" y="-4750"/>
                  <a:pt x="950932" y="1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bIns="72000" anchor="ctr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3800">
                <a:solidFill>
                  <a:schemeClr val="bg1"/>
                </a:solidFill>
              </a:defRPr>
            </a:lvl1pPr>
            <a:lvl2pPr algn="ctr">
              <a:lnSpc>
                <a:spcPct val="90000"/>
              </a:lnSpc>
              <a:defRPr sz="19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C10DDA-7A49-41E5-A179-C1A34E37C0A7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800013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8101013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808163"/>
            <a:ext cx="2268000" cy="936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3438000" y="1808163"/>
            <a:ext cx="2268000" cy="936000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/>
          </p:nvPr>
        </p:nvSpPr>
        <p:spPr bwMode="gray">
          <a:xfrm>
            <a:off x="6537600" y="1807200"/>
            <a:ext cx="2268000" cy="936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22"/>
          </p:nvPr>
        </p:nvSpPr>
        <p:spPr bwMode="gray">
          <a:xfrm>
            <a:off x="358775" y="2744788"/>
            <a:ext cx="2808000" cy="3276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/>
          </p:nvPr>
        </p:nvSpPr>
        <p:spPr bwMode="gray">
          <a:xfrm>
            <a:off x="3348325" y="2743200"/>
            <a:ext cx="2808000" cy="3276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/>
          </p:nvPr>
        </p:nvSpPr>
        <p:spPr bwMode="gray">
          <a:xfrm>
            <a:off x="6336000" y="2744788"/>
            <a:ext cx="2808000" cy="3276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296864-CAA6-4E2D-B54F-59729E5BA7CE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175849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BG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58775" y="3034800"/>
            <a:ext cx="7921625" cy="29865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 smtClean="0"/>
              <a:t>Subtitle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GB" altLang="fr-FR" noProof="0" dirty="0" smtClean="0"/>
              <a:t>document title - date (Personalise the footer with "Insert / Header and Footer)</a:t>
            </a:r>
            <a:endParaRPr lang="en-GB" altLang="fr-FR" noProof="0" dirty="0"/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2BC85812-F953-4AE8-878A-A89F38174EA6}" type="slidenum">
              <a:rPr lang="en-GB" altLang="fr-FR" noProof="0" smtClean="0"/>
              <a:pPr/>
              <a:t>‹Nº›</a:t>
            </a:fld>
            <a:r>
              <a:rPr lang="en-GB" altLang="fr-FR" noProof="0" dirty="0" smtClean="0"/>
              <a:t> I</a:t>
            </a:r>
            <a:endParaRPr lang="en-GB" altLang="fr-FR" noProof="0" dirty="0"/>
          </a:p>
        </p:txBody>
      </p:sp>
      <p:pic>
        <p:nvPicPr>
          <p:cNvPr id="9" name="Imag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00" y="6138000"/>
            <a:ext cx="14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9340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8101013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808163"/>
            <a:ext cx="2268000" cy="936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/>
          </p:nvPr>
        </p:nvSpPr>
        <p:spPr bwMode="gray">
          <a:xfrm>
            <a:off x="6537600" y="1807200"/>
            <a:ext cx="2268000" cy="936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/>
          </p:nvPr>
        </p:nvSpPr>
        <p:spPr bwMode="gray">
          <a:xfrm>
            <a:off x="358775" y="2743200"/>
            <a:ext cx="5797550" cy="3276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/>
          </p:nvPr>
        </p:nvSpPr>
        <p:spPr bwMode="gray">
          <a:xfrm>
            <a:off x="6336000" y="2744788"/>
            <a:ext cx="2808000" cy="3276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  <a:endParaRPr lang="fr-FR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231D3E-01BB-4271-B8DA-A48A936E072A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471351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phiques_Fon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0" y="1233488"/>
            <a:ext cx="9144000" cy="4787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1"/>
            <a:ext cx="8101013" cy="8302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684213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684213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3492000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3492000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3492000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/>
          </p:nvPr>
        </p:nvSpPr>
        <p:spPr bwMode="gray">
          <a:xfrm>
            <a:off x="6299788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/>
          </p:nvPr>
        </p:nvSpPr>
        <p:spPr bwMode="gray">
          <a:xfrm>
            <a:off x="6299788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/>
          </p:nvPr>
        </p:nvSpPr>
        <p:spPr bwMode="gray">
          <a:xfrm>
            <a:off x="6299788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4" name="Espace réservé de la date 9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6" name="Espace réservé du pied de page 10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7" name="Espace réservé du numéro de diapositive 1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124CC-991D-4492-83BA-4420ED2717BE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834318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phiques_Fon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0" y="1233488"/>
            <a:ext cx="9144000" cy="4787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1"/>
            <a:ext cx="7921625" cy="8302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684213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684213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3492000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3492000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3492000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/>
          </p:nvPr>
        </p:nvSpPr>
        <p:spPr bwMode="gray">
          <a:xfrm>
            <a:off x="6299788" y="4654800"/>
            <a:ext cx="2160000" cy="1368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/>
          </p:nvPr>
        </p:nvSpPr>
        <p:spPr bwMode="gray">
          <a:xfrm>
            <a:off x="6299788" y="2260800"/>
            <a:ext cx="2160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/>
          </p:nvPr>
        </p:nvSpPr>
        <p:spPr bwMode="gray">
          <a:xfrm>
            <a:off x="6299788" y="1808163"/>
            <a:ext cx="2160000" cy="36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4" name="Espace réservé de la date 9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6" name="Espace réservé du pied de page 10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7" name="Espace réservé du numéro de diapositive 1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1A573F-3B0B-466F-8B0D-B6EE38D954C1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1552205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phiques_Fon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1233488"/>
            <a:ext cx="9144000" cy="47879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1"/>
            <a:ext cx="7921625" cy="8302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1368000" y="4654800"/>
            <a:ext cx="3204000" cy="1368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936000" y="2232000"/>
            <a:ext cx="3564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accent5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1368000" y="1808163"/>
            <a:ext cx="3204000" cy="36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5004000" y="4654800"/>
            <a:ext cx="3204000" cy="1368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4572000" y="2232000"/>
            <a:ext cx="3564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accent5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5004000" y="1808163"/>
            <a:ext cx="3204000" cy="36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e la date 9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2" name="Espace réservé du pied de page 10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4" name="Espace réservé du numéro de diapositive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F99D8A-BC8D-42C0-912F-AB4A56BCEFD0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2520360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phiques_Fond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1233488"/>
            <a:ext cx="9144000" cy="4787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1"/>
            <a:ext cx="7921625" cy="83028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1368000" y="4654800"/>
            <a:ext cx="3204000" cy="1368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936000" y="2232000"/>
            <a:ext cx="3564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1368000" y="1808163"/>
            <a:ext cx="3204000" cy="36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5004000" y="4654800"/>
            <a:ext cx="3204000" cy="1368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4572000" y="2232000"/>
            <a:ext cx="3564000" cy="2376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5004000" y="1808163"/>
            <a:ext cx="3204000" cy="36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e la date 9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2" name="Espace réservé du pied de page 10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4" name="Espace réservé du numéro de diapositive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39E98F-5AC1-4947-9235-23B4E59E2229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1609013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text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808163"/>
            <a:ext cx="7596187" cy="93662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5796000"/>
            <a:ext cx="1257158" cy="311606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9"/>
          </p:nvPr>
        </p:nvSpPr>
        <p:spPr bwMode="gray">
          <a:xfrm>
            <a:off x="684213" y="2744788"/>
            <a:ext cx="7596187" cy="1980000"/>
          </a:xfrm>
        </p:spPr>
        <p:txBody>
          <a:bodyPr tIns="576000" anchor="ctr"/>
          <a:lstStyle>
            <a:lvl1pPr algn="ctr">
              <a:defRPr sz="1500" b="0"/>
            </a:lvl1pPr>
          </a:lstStyle>
          <a:p>
            <a:pPr lvl="0"/>
            <a:endParaRPr lang="fr-FR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0"/>
          </p:nvPr>
        </p:nvSpPr>
        <p:spPr bwMode="gray">
          <a:xfrm>
            <a:off x="684213" y="4834800"/>
            <a:ext cx="7596187" cy="828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/>
            </a:lvl1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7D27C7-EFD2-4897-B987-44B68B98F5F0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266266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_Fond_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pic>
        <p:nvPicPr>
          <p:cNvPr id="5" name="Image 9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04138" y="6137275"/>
            <a:ext cx="143986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700">
                <a:solidFill>
                  <a:schemeClr val="accent4"/>
                </a:solidFill>
              </a:defRPr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6" name="Espace réservé de la date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Espace réservé du pied de page 10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 alt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numéro de diapositive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030F40"/>
                </a:solidFill>
              </a:defRPr>
            </a:lvl1pPr>
          </a:lstStyle>
          <a:p>
            <a:pPr>
              <a:defRPr/>
            </a:pPr>
            <a:fld id="{9B79BD52-7AFE-47E0-8998-554656C0CB24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4037795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_Fond_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dirty="0">
              <a:solidFill>
                <a:srgbClr val="FFFFFF"/>
              </a:solidFill>
            </a:endParaRPr>
          </a:p>
        </p:txBody>
      </p:sp>
      <p:pic>
        <p:nvPicPr>
          <p:cNvPr id="5" name="Image 9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04138" y="6137275"/>
            <a:ext cx="143986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7921625" cy="140496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700">
                <a:solidFill>
                  <a:schemeClr val="accent3"/>
                </a:solidFill>
              </a:defRPr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6" name="Espace réservé de la date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7" name="Espace réservé du pied de page 10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 alt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numéro de diapositive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5A0B11-828D-4994-B9B5-48F380C80636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120137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us-Chapitre_Fond_ver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D_05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age 9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04138" y="6137275"/>
            <a:ext cx="143986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358775" y="3034800"/>
            <a:ext cx="7921625" cy="2986588"/>
          </a:xfrm>
        </p:spPr>
        <p:txBody>
          <a:bodyPr/>
          <a:lstStyle>
            <a:lvl1pPr>
              <a:lnSpc>
                <a:spcPct val="100000"/>
              </a:lnSpc>
              <a:defRPr sz="2400" b="0">
                <a:solidFill>
                  <a:schemeClr val="accent5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5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6" name="Espace réservé du pied de page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7" name="Espace réservé du numéro de diapositive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F6C91F-5625-408D-814F-0BD3A08BF193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2011175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0" y="6381750"/>
            <a:ext cx="684213" cy="466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17276C-B9AA-43C0-ABC2-5B527045CADC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2360346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_BG_gree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FD_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8775" y="3034800"/>
            <a:ext cx="7921625" cy="2986588"/>
          </a:xfrm>
        </p:spPr>
        <p:txBody>
          <a:bodyPr anchor="t" anchorCtr="0"/>
          <a:lstStyle>
            <a:lvl1pPr>
              <a:lnSpc>
                <a:spcPct val="100000"/>
              </a:lnSpc>
              <a:defRPr sz="2400" b="0"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altLang="fr-FR" noProof="0" dirty="0" smtClean="0"/>
              <a:t>document title - date (Personalise the footer with "Insert / Header and Footer)</a:t>
            </a:r>
            <a:endParaRPr lang="en-GB" altLang="fr-FR" noProof="0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C85812-F953-4AE8-878A-A89F38174EA6}" type="slidenum">
              <a:rPr lang="en-GB" altLang="fr-FR" noProof="0" smtClean="0"/>
              <a:pPr/>
              <a:t>‹Nº›</a:t>
            </a:fld>
            <a:r>
              <a:rPr lang="en-GB" altLang="fr-FR" noProof="0" dirty="0" smtClean="0"/>
              <a:t> I</a:t>
            </a:r>
            <a:endParaRPr lang="en-GB" altLang="fr-FR" noProof="0" dirty="0"/>
          </a:p>
        </p:txBody>
      </p:sp>
      <p:pic>
        <p:nvPicPr>
          <p:cNvPr id="8" name="Imag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00" y="6138000"/>
            <a:ext cx="14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4888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2532185" y="4343401"/>
            <a:ext cx="6248400" cy="1752600"/>
          </a:xfrm>
          <a:extLst/>
        </p:spPr>
        <p:txBody>
          <a:bodyPr/>
          <a:lstStyle>
            <a:lvl1pPr algn="r">
              <a:defRPr/>
            </a:lvl1pPr>
          </a:lstStyle>
          <a:p>
            <a:pPr lvl="0"/>
            <a:r>
              <a:rPr lang="en-US" noProof="0" smtClean="0"/>
              <a:t>Click to enter presenter name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532185" y="3475039"/>
            <a:ext cx="6248400" cy="369332"/>
          </a:xfrm>
          <a:prstGeom prst="rect">
            <a:avLst/>
          </a:prstGeom>
          <a:extLst/>
        </p:spPr>
        <p:txBody>
          <a:bodyPr anchor="t"/>
          <a:lstStyle>
            <a:lvl1pPr algn="r"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 smtClean="0"/>
              <a:t>Click to insert presentation title</a:t>
            </a:r>
          </a:p>
        </p:txBody>
      </p:sp>
      <p:sp>
        <p:nvSpPr>
          <p:cNvPr id="4" name="Rectangle 36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6553200" y="6400800"/>
            <a:ext cx="1905000" cy="457200"/>
          </a:xfrm>
          <a:prstGeom prst="rect">
            <a:avLst/>
          </a:prstGeom>
          <a:extLst/>
        </p:spPr>
        <p:txBody>
          <a:bodyPr vert="horz" wrap="square" lIns="91325" tIns="45662" rIns="91325" bIns="456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4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sldNum" sz="quarter" idx="11"/>
          </p:nvPr>
        </p:nvSpPr>
        <p:spPr bwMode="auto">
          <a:xfrm>
            <a:off x="3619500" y="6400800"/>
            <a:ext cx="1905000" cy="457200"/>
          </a:xfrm>
          <a:prstGeom prst="rect">
            <a:avLst/>
          </a:prstGeom>
          <a:extLst/>
        </p:spPr>
        <p:txBody>
          <a:bodyPr vert="horz" wrap="square" lIns="91325" tIns="45662" rIns="91325" bIns="45662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0"/>
              </a:spcBef>
              <a:defRPr sz="14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2AFAFDDF-B7CE-4862-AC6F-C3912D844A8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182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 bwMode="gray">
          <a:xfrm>
            <a:off x="358775" y="2133600"/>
            <a:ext cx="7921625" cy="900000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/>
          </p:nvPr>
        </p:nvSpPr>
        <p:spPr bwMode="gray">
          <a:xfrm>
            <a:off x="358775" y="3034800"/>
            <a:ext cx="7921625" cy="900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7" name="Espace réservé de la date 1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4AF951-5E74-4290-AB69-EE78CF8CF0A9}" type="slidenum">
              <a:rPr lang="fr-FR" altLang="es-ES"/>
              <a:pPr>
                <a:defRPr/>
              </a:pPr>
              <a:t>‹Nº›</a:t>
            </a:fld>
            <a:endParaRPr lang="fr-FR" altLang="es-ES" dirty="0"/>
          </a:p>
        </p:txBody>
      </p:sp>
    </p:spTree>
    <p:extLst>
      <p:ext uri="{BB962C8B-B14F-4D97-AF65-F5344CB8AC3E}">
        <p14:creationId xmlns:p14="http://schemas.microsoft.com/office/powerpoint/2010/main" val="34168254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 bwMode="gray">
          <a:xfrm>
            <a:off x="358775" y="2133600"/>
            <a:ext cx="7921625" cy="900000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/>
          </p:nvPr>
        </p:nvSpPr>
        <p:spPr bwMode="gray">
          <a:xfrm>
            <a:off x="358775" y="3034800"/>
            <a:ext cx="7921625" cy="900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3"/>
          </p:nvPr>
        </p:nvSpPr>
        <p:spPr bwMode="gray">
          <a:xfrm>
            <a:off x="0" y="5418000"/>
            <a:ext cx="9144000" cy="1440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  <a:solidFill>
            <a:schemeClr val="accent3"/>
          </a:solidFill>
        </p:spPr>
        <p:txBody>
          <a:bodyPr lIns="1080000" tIns="1188000" rIns="1188000" anchor="ctr"/>
          <a:lstStyle>
            <a:lvl1pPr algn="ctr">
              <a:defRPr sz="150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</a:p>
        </p:txBody>
      </p:sp>
    </p:spTree>
    <p:extLst>
      <p:ext uri="{BB962C8B-B14F-4D97-AF65-F5344CB8AC3E}">
        <p14:creationId xmlns:p14="http://schemas.microsoft.com/office/powerpoint/2010/main" val="8365579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4"/>
          <p:cNvSpPr>
            <a:spLocks noGrp="1"/>
          </p:cNvSpPr>
          <p:nvPr>
            <p:ph type="body" sz="quarter" idx="13"/>
          </p:nvPr>
        </p:nvSpPr>
        <p:spPr bwMode="gray">
          <a:xfrm>
            <a:off x="0" y="5418000"/>
            <a:ext cx="9144000" cy="1440000"/>
          </a:xfrm>
          <a:blipFill dpi="0" rotWithShape="1">
            <a:blip r:embed="rId2" cstate="email">
              <a:extLst/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4"/>
          </p:nvPr>
        </p:nvSpPr>
        <p:spPr bwMode="gray">
          <a:xfrm>
            <a:off x="5188137" y="0"/>
            <a:ext cx="3960000" cy="5400000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 bwMode="gray">
          <a:xfrm>
            <a:off x="358775" y="2133600"/>
            <a:ext cx="7921625" cy="900000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/>
          </p:nvPr>
        </p:nvSpPr>
        <p:spPr bwMode="gray">
          <a:xfrm>
            <a:off x="358775" y="3034800"/>
            <a:ext cx="7921625" cy="900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  <a:solidFill>
            <a:schemeClr val="accent5"/>
          </a:solidFill>
        </p:spPr>
        <p:txBody>
          <a:bodyPr lIns="1080000" tIns="1188000" rIns="1188000" anchor="ctr"/>
          <a:lstStyle>
            <a:lvl1pPr algn="ctr">
              <a:defRPr sz="1500"/>
            </a:lvl1pPr>
          </a:lstStyle>
          <a:p>
            <a:pPr lvl="0"/>
            <a:r>
              <a:rPr lang="fr-FR" noProof="0" dirty="0" smtClean="0"/>
              <a:t>Faire glisser l'image vers l'espace réservé ou cliquer sur l'icône pour l'ajouter</a:t>
            </a:r>
          </a:p>
        </p:txBody>
      </p:sp>
      <p:sp>
        <p:nvSpPr>
          <p:cNvPr id="9" name="Espace réservé de la date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49ED7D-4795-4F1A-BD4C-5B0E775A0C11}" type="slidenum">
              <a:rPr lang="fr-FR" altLang="es-ES"/>
              <a:pPr>
                <a:defRPr/>
              </a:pPr>
              <a:t>‹Nº›</a:t>
            </a:fld>
            <a:endParaRPr lang="fr-FR" altLang="es-ES" dirty="0"/>
          </a:p>
        </p:txBody>
      </p:sp>
    </p:spTree>
    <p:extLst>
      <p:ext uri="{BB962C8B-B14F-4D97-AF65-F5344CB8AC3E}">
        <p14:creationId xmlns:p14="http://schemas.microsoft.com/office/powerpoint/2010/main" val="1488325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2133600"/>
            <a:ext cx="7921625" cy="90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 smtClean="0"/>
              <a:t>Subtit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58775" y="3034800"/>
            <a:ext cx="7921625" cy="900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en-GB" noProof="0" dirty="0" smtClean="0"/>
              <a:t>Text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AADC14">
                    <a:alpha val="0"/>
                  </a:srgbClr>
                </a:solidFill>
              </a:rPr>
              <a:t>document title - date (Personalise the footer with "Insert / Header and Footer)</a:t>
            </a:r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24368A89-9C7F-43A7-BE10-515E8145AD10}" type="slidenum">
              <a:rPr lang="en-GB" smtClean="0">
                <a:solidFill>
                  <a:srgbClr val="AADC14">
                    <a:alpha val="0"/>
                  </a:srgbClr>
                </a:solidFill>
              </a:rPr>
              <a:pPr/>
              <a:t>‹Nº›</a:t>
            </a:fld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84526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2133600"/>
            <a:ext cx="7921625" cy="90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 smtClean="0"/>
              <a:t>Subtit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58775" y="3034800"/>
            <a:ext cx="7921625" cy="900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en-GB" noProof="0" dirty="0" smtClean="0"/>
              <a:t>Text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5418000"/>
            <a:ext cx="9144000" cy="144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AADC14">
                    <a:alpha val="0"/>
                  </a:srgbClr>
                </a:solidFill>
              </a:rPr>
              <a:t>document title - date (Personalise the footer with "Insert / Header and Footer)</a:t>
            </a:r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24368A89-9C7F-43A7-BE10-515E8145AD10}" type="slidenum">
              <a:rPr lang="en-GB" smtClean="0">
                <a:solidFill>
                  <a:srgbClr val="AADC14">
                    <a:alpha val="0"/>
                  </a:srgbClr>
                </a:solidFill>
              </a:rPr>
              <a:pPr/>
              <a:t>‹Nº›</a:t>
            </a:fld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solidFill>
            <a:schemeClr val="accent3"/>
          </a:solidFill>
        </p:spPr>
        <p:txBody>
          <a:bodyPr lIns="1080000" tIns="1188000" rIns="1188000" anchor="ctr" anchorCtr="0"/>
          <a:lstStyle>
            <a:lvl1pPr algn="ctr">
              <a:defRPr sz="1500"/>
            </a:lvl1pPr>
          </a:lstStyle>
          <a:p>
            <a:r>
              <a:rPr lang="en-GB" noProof="0" dirty="0" smtClean="0"/>
              <a:t>Select the icon to insert a picture then place the visual into background position (right click with the mouse / send to back)</a:t>
            </a:r>
          </a:p>
        </p:txBody>
      </p:sp>
    </p:spTree>
    <p:extLst>
      <p:ext uri="{BB962C8B-B14F-4D97-AF65-F5344CB8AC3E}">
        <p14:creationId xmlns:p14="http://schemas.microsoft.com/office/powerpoint/2010/main" val="33286260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5418000"/>
            <a:ext cx="9144000" cy="144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88137" y="0"/>
            <a:ext cx="3960000" cy="540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 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2133600"/>
            <a:ext cx="7921625" cy="90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 smtClean="0"/>
              <a:t>Subtitl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58775" y="3034800"/>
            <a:ext cx="7921625" cy="900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en-GB" noProof="0" dirty="0" smtClean="0"/>
              <a:t>Text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 smtClean="0">
                <a:solidFill>
                  <a:srgbClr val="AADC14">
                    <a:alpha val="0"/>
                  </a:srgbClr>
                </a:solidFill>
              </a:rPr>
              <a:t>document title - date (Personalise the footer with "Insert / Header and Footer)</a:t>
            </a:r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24368A89-9C7F-43A7-BE10-515E8145AD10}" type="slidenum">
              <a:rPr lang="en-GB" smtClean="0">
                <a:solidFill>
                  <a:srgbClr val="AADC14">
                    <a:alpha val="0"/>
                  </a:srgbClr>
                </a:solidFill>
              </a:rPr>
              <a:pPr/>
              <a:t>‹Nº›</a:t>
            </a:fld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9144000" cy="6858000"/>
          </a:xfrm>
          <a:solidFill>
            <a:schemeClr val="accent5"/>
          </a:solidFill>
        </p:spPr>
        <p:txBody>
          <a:bodyPr lIns="1080000" tIns="1188000" rIns="1188000" anchor="ctr" anchorCtr="0"/>
          <a:lstStyle>
            <a:lvl1pPr algn="ctr">
              <a:defRPr sz="1500"/>
            </a:lvl1pPr>
          </a:lstStyle>
          <a:p>
            <a:r>
              <a:rPr lang="en-GB" noProof="0" dirty="0" smtClean="0"/>
              <a:t>Select the icon to insert a picture then place the visual into background position (right click with the mouse / send to back)</a:t>
            </a:r>
          </a:p>
        </p:txBody>
      </p:sp>
    </p:spTree>
    <p:extLst>
      <p:ext uri="{BB962C8B-B14F-4D97-AF65-F5344CB8AC3E}">
        <p14:creationId xmlns:p14="http://schemas.microsoft.com/office/powerpoint/2010/main" val="58483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vertu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 bwMode="gray">
          <a:xfrm>
            <a:off x="358775" y="2133600"/>
            <a:ext cx="7921625" cy="900000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/>
          </p:nvPr>
        </p:nvSpPr>
        <p:spPr bwMode="gray">
          <a:xfrm>
            <a:off x="358775" y="3034800"/>
            <a:ext cx="7921625" cy="900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7" name="Espace réservé de la date 1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8" name="Espace réservé du pied de page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9" name="Espace réservé du numéro de diapositive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ABBA4-3F77-4E64-9771-1884E1CDAA7F}" type="slidenum">
              <a:rPr lang="fr-FR" altLang="fr-FR">
                <a:solidFill>
                  <a:srgbClr val="AADC14">
                    <a:alpha val="0"/>
                  </a:srgbClr>
                </a:solidFill>
              </a:rPr>
              <a:pPr>
                <a:defRPr/>
              </a:pPr>
              <a:t>‹Nº›</a:t>
            </a:fld>
            <a:endParaRPr lang="fr-FR" altLang="fr-FR" dirty="0">
              <a:solidFill>
                <a:srgbClr val="AADC14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797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_BG_gree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8775" y="3034800"/>
            <a:ext cx="7921625" cy="2986588"/>
          </a:xfrm>
        </p:spPr>
        <p:txBody>
          <a:bodyPr anchor="t" anchorCtr="0"/>
          <a:lstStyle>
            <a:lvl1pPr>
              <a:lnSpc>
                <a:spcPct val="100000"/>
              </a:lnSpc>
              <a:defRPr sz="2400" b="0"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altLang="fr-FR" noProof="0" dirty="0" smtClean="0"/>
              <a:t>document title - date (Personalise the footer with "Insert / Header and Footer)</a:t>
            </a:r>
            <a:endParaRPr lang="en-GB" altLang="fr-FR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C85812-F953-4AE8-878A-A89F38174EA6}" type="slidenum">
              <a:rPr lang="en-GB" altLang="fr-FR" noProof="0" smtClean="0"/>
              <a:pPr/>
              <a:t>‹Nº›</a:t>
            </a:fld>
            <a:r>
              <a:rPr lang="en-GB" altLang="fr-FR" noProof="0" dirty="0" smtClean="0"/>
              <a:t> I</a:t>
            </a:r>
            <a:endParaRPr lang="en-GB" altLang="fr-FR" noProof="0" dirty="0"/>
          </a:p>
        </p:txBody>
      </p:sp>
      <p:pic>
        <p:nvPicPr>
          <p:cNvPr id="8" name="Imag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00" y="6138000"/>
            <a:ext cx="14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8076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_BG_gree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FD_0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8775" y="3034800"/>
            <a:ext cx="7921625" cy="2986588"/>
          </a:xfrm>
        </p:spPr>
        <p:txBody>
          <a:bodyPr anchor="t" anchorCtr="0"/>
          <a:lstStyle>
            <a:lvl1pPr>
              <a:lnSpc>
                <a:spcPct val="100000"/>
              </a:lnSpc>
              <a:defRPr sz="2400" b="0">
                <a:solidFill>
                  <a:schemeClr val="accent5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altLang="fr-FR" noProof="0" dirty="0" smtClean="0"/>
              <a:t>document title - date (Personalise the footer with "Insert / Header and Footer)</a:t>
            </a:r>
            <a:endParaRPr lang="en-GB" altLang="fr-FR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2BC85812-F953-4AE8-878A-A89F38174EA6}" type="slidenum">
              <a:rPr lang="en-GB" altLang="fr-FR" noProof="0" smtClean="0"/>
              <a:pPr/>
              <a:t>‹Nº›</a:t>
            </a:fld>
            <a:r>
              <a:rPr lang="en-GB" altLang="fr-FR" noProof="0" dirty="0" smtClean="0"/>
              <a:t> I</a:t>
            </a:r>
            <a:endParaRPr lang="en-GB" altLang="fr-FR" noProof="0" dirty="0"/>
          </a:p>
        </p:txBody>
      </p:sp>
      <p:pic>
        <p:nvPicPr>
          <p:cNvPr id="9" name="Imag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00" y="6138000"/>
            <a:ext cx="14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209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BG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58775" y="3034800"/>
            <a:ext cx="7921625" cy="2986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Subtitle</a:t>
            </a:r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altLang="fr-FR" noProof="0" dirty="0" smtClean="0"/>
              <a:t>document title - date (Personalise the footer with "Insert / Header and Footer)</a:t>
            </a:r>
            <a:endParaRPr lang="en-GB" altLang="fr-FR" noProof="0" dirty="0"/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2BC85812-F953-4AE8-878A-A89F38174EA6}" type="slidenum">
              <a:rPr lang="en-GB" altLang="fr-FR" noProof="0" smtClean="0"/>
              <a:pPr/>
              <a:t>‹Nº›</a:t>
            </a:fld>
            <a:r>
              <a:rPr lang="en-GB" altLang="fr-FR" noProof="0" dirty="0" smtClean="0"/>
              <a:t> I</a:t>
            </a:r>
            <a:endParaRPr lang="en-GB" altLang="fr-FR" noProof="0" dirty="0"/>
          </a:p>
        </p:txBody>
      </p:sp>
      <p:pic>
        <p:nvPicPr>
          <p:cNvPr id="9" name="Imag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00" y="6138000"/>
            <a:ext cx="14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66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chapter_BG_blu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8" descr="FD_0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8775" y="3034800"/>
            <a:ext cx="7921625" cy="2986588"/>
          </a:xfrm>
        </p:spPr>
        <p:txBody>
          <a:bodyPr anchor="t" anchorCtr="0"/>
          <a:lstStyle>
            <a:lvl1pPr>
              <a:lnSpc>
                <a:spcPct val="100000"/>
              </a:lnSpc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GB" noProof="0" dirty="0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altLang="fr-FR" noProof="0" dirty="0" smtClean="0"/>
              <a:t>document title - date (Personalise the footer with "Insert / Header and Footer)</a:t>
            </a:r>
            <a:endParaRPr lang="en-GB" altLang="fr-FR" noProof="0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2BC85812-F953-4AE8-878A-A89F38174EA6}" type="slidenum">
              <a:rPr lang="en-GB" altLang="fr-FR" noProof="0" smtClean="0"/>
              <a:pPr/>
              <a:t>‹Nº›</a:t>
            </a:fld>
            <a:r>
              <a:rPr lang="en-GB" altLang="fr-FR" noProof="0" dirty="0" smtClean="0"/>
              <a:t> I</a:t>
            </a:r>
            <a:endParaRPr lang="en-GB" altLang="fr-FR" noProof="0" dirty="0"/>
          </a:p>
        </p:txBody>
      </p:sp>
      <p:pic>
        <p:nvPicPr>
          <p:cNvPr id="8" name="Imag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00" y="6138000"/>
            <a:ext cx="14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24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1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image" Target="../media/image11.png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image" Target="../media/image21.emf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2.png"/><Relationship Id="rId5" Type="http://schemas.openxmlformats.org/officeDocument/2006/relationships/image" Target="../media/image1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1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7189" y="512763"/>
            <a:ext cx="7923098" cy="162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fr-FR" noProof="0" dirty="0" err="1" smtClean="0"/>
              <a:t>Title</a:t>
            </a:r>
            <a:endParaRPr lang="es-ES" altLang="fr-FR" noProof="0" dirty="0" smtClean="0"/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775" y="2133600"/>
            <a:ext cx="7921625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fr-FR" noProof="0" dirty="0" err="1" smtClean="0"/>
              <a:t>Subtitle</a:t>
            </a:r>
            <a:endParaRPr lang="es-ES" altLang="fr-FR" noProof="0" dirty="0" smtClean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"/>
          </p:nvPr>
        </p:nvSpPr>
        <p:spPr bwMode="gray">
          <a:xfrm>
            <a:off x="0" y="6669088"/>
            <a:ext cx="358775" cy="1889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solidFill>
                  <a:schemeClr val="accent6">
                    <a:alpha val="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 bwMode="gray">
          <a:xfrm>
            <a:off x="0" y="6669088"/>
            <a:ext cx="358775" cy="1895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solidFill>
                  <a:schemeClr val="accent6">
                    <a:alpha val="0"/>
                  </a:schemeClr>
                </a:solidFill>
              </a:defRPr>
            </a:lvl1pPr>
          </a:lstStyle>
          <a:p>
            <a:r>
              <a:rPr lang="en-GB" noProof="0" dirty="0" smtClean="0"/>
              <a:t>document title - date (Personalise the footer with "Insert / Header and Footer)</a:t>
            </a:r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>
          <a:xfrm>
            <a:off x="0" y="6669088"/>
            <a:ext cx="358775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">
                <a:solidFill>
                  <a:schemeClr val="accent6">
                    <a:alpha val="0"/>
                  </a:schemeClr>
                </a:solidFill>
              </a:defRPr>
            </a:lvl1pPr>
          </a:lstStyle>
          <a:p>
            <a:fld id="{24368A89-9C7F-43A7-BE10-515E8145AD10}" type="slidenum">
              <a:rPr lang="en-GB" noProof="0" smtClean="0"/>
              <a:pPr/>
              <a:t>‹Nº›</a:t>
            </a:fld>
            <a:endParaRPr lang="en-GB" noProof="0" dirty="0"/>
          </a:p>
        </p:txBody>
      </p:sp>
      <p:pic>
        <p:nvPicPr>
          <p:cNvPr id="9" name="Imag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18000"/>
            <a:ext cx="9144000" cy="1441094"/>
          </a:xfrm>
          <a:prstGeom prst="rect">
            <a:avLst/>
          </a:prstGeom>
        </p:spPr>
      </p:pic>
      <p:grpSp>
        <p:nvGrpSpPr>
          <p:cNvPr id="14" name="8 Grupo"/>
          <p:cNvGrpSpPr/>
          <p:nvPr userDrawn="1"/>
        </p:nvGrpSpPr>
        <p:grpSpPr>
          <a:xfrm>
            <a:off x="464232" y="4600135"/>
            <a:ext cx="1761383" cy="983247"/>
            <a:chOff x="464233" y="4600135"/>
            <a:chExt cx="2222696" cy="872197"/>
          </a:xfrm>
        </p:grpSpPr>
        <p:cxnSp>
          <p:nvCxnSpPr>
            <p:cNvPr id="15" name="9 Conector recto"/>
            <p:cNvCxnSpPr/>
            <p:nvPr/>
          </p:nvCxnSpPr>
          <p:spPr>
            <a:xfrm>
              <a:off x="464234" y="4600135"/>
              <a:ext cx="222269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10 Conector recto"/>
            <p:cNvCxnSpPr/>
            <p:nvPr/>
          </p:nvCxnSpPr>
          <p:spPr>
            <a:xfrm>
              <a:off x="464234" y="5472332"/>
              <a:ext cx="222269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11 Rectángulo"/>
            <p:cNvSpPr/>
            <p:nvPr/>
          </p:nvSpPr>
          <p:spPr>
            <a:xfrm>
              <a:off x="464233" y="4600135"/>
              <a:ext cx="2222695" cy="872197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/>
              <a:r>
                <a:rPr lang="en-US" sz="1800" b="1" baseline="0" noProof="0" dirty="0" smtClean="0"/>
                <a:t>For internal use only</a:t>
              </a:r>
              <a:endParaRPr lang="en-US" sz="1800" b="1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969339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accent5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defTabSz="125888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+mn-lt"/>
          <a:ea typeface="+mn-ea"/>
          <a:cs typeface="+mn-cs"/>
        </a:defRPr>
      </a:lvl1pPr>
      <a:lvl2pPr algn="l" defTabSz="1258888" rtl="0" eaLnBrk="1" fontAlgn="base" hangingPunct="1">
        <a:lnSpc>
          <a:spcPct val="90000"/>
        </a:lnSpc>
        <a:spcBef>
          <a:spcPct val="50000"/>
        </a:spcBef>
        <a:spcAft>
          <a:spcPct val="0"/>
        </a:spcAft>
        <a:defRPr sz="2200">
          <a:solidFill>
            <a:schemeClr val="tx1"/>
          </a:solidFill>
          <a:latin typeface="+mn-lt"/>
          <a:cs typeface="+mn-cs"/>
        </a:defRPr>
      </a:lvl2pPr>
      <a:lvl3pPr marL="215900" indent="-215900" algn="l" defTabSz="1258888" rtl="0" eaLnBrk="1" fontAlgn="base" hangingPunct="1">
        <a:lnSpc>
          <a:spcPct val="160000"/>
        </a:lnSpc>
        <a:spcBef>
          <a:spcPct val="0"/>
        </a:spcBef>
        <a:spcAft>
          <a:spcPct val="0"/>
        </a:spcAft>
        <a:buSzPct val="150000"/>
        <a:buFont typeface="Wingdings" pitchFamily="2" charset="2"/>
        <a:buChar char="¢"/>
        <a:defRPr sz="1200">
          <a:solidFill>
            <a:schemeClr val="tx1"/>
          </a:solidFill>
          <a:latin typeface="+mn-lt"/>
          <a:cs typeface="+mn-cs"/>
        </a:defRPr>
      </a:lvl3pPr>
      <a:lvl4pPr marL="215900" indent="-196850" algn="l" defTabSz="1258888" rtl="0" eaLnBrk="1" fontAlgn="base" hangingPunct="1">
        <a:lnSpc>
          <a:spcPct val="160000"/>
        </a:lnSpc>
        <a:spcBef>
          <a:spcPct val="0"/>
        </a:spcBef>
        <a:spcAft>
          <a:spcPct val="0"/>
        </a:spcAft>
        <a:buSzPct val="150000"/>
        <a:buFont typeface="Wingdings" pitchFamily="2" charset="2"/>
        <a:buChar char="¡"/>
        <a:defRPr sz="1000">
          <a:solidFill>
            <a:schemeClr val="tx1"/>
          </a:solidFill>
          <a:latin typeface="+mn-lt"/>
          <a:cs typeface="+mn-cs"/>
        </a:defRPr>
      </a:lvl4pPr>
      <a:lvl5pPr marL="431800" indent="-215900" algn="l" defTabSz="125888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5pPr>
      <a:lvl6pPr marL="889000" indent="-215900" algn="l" defTabSz="125888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6pPr>
      <a:lvl7pPr marL="1346200" indent="-215900" algn="l" defTabSz="125888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7pPr>
      <a:lvl8pPr marL="1803400" indent="-215900" algn="l" defTabSz="125888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8pPr>
      <a:lvl9pPr marL="2260600" indent="-215900" algn="l" defTabSz="125888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8775" y="404813"/>
            <a:ext cx="7921625" cy="2484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noProof="0" dirty="0" smtClean="0"/>
              <a:t>Title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775" y="3033713"/>
            <a:ext cx="7921625" cy="298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noProof="0" dirty="0" smtClean="0"/>
              <a:t>Subtitl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684213" y="6381750"/>
            <a:ext cx="6696075" cy="46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accent5"/>
                </a:solidFill>
              </a:defRPr>
            </a:lvl1pPr>
          </a:lstStyle>
          <a:p>
            <a:r>
              <a:rPr lang="en-GB" altLang="fr-FR" noProof="0" dirty="0" smtClean="0"/>
              <a:t>document title - date (Personalise the footer with "Insert / Header and Footer)</a:t>
            </a:r>
            <a:endParaRPr lang="en-GB" altLang="fr-FR" noProof="0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0" y="6381750"/>
            <a:ext cx="684213" cy="46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5400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2BC85812-F953-4AE8-878A-A89F38174EA6}" type="slidenum">
              <a:rPr lang="en-GB" altLang="fr-FR" noProof="0" smtClean="0"/>
              <a:pPr/>
              <a:t>‹Nº›</a:t>
            </a:fld>
            <a:r>
              <a:rPr lang="en-GB" altLang="fr-FR" noProof="0" dirty="0" smtClean="0"/>
              <a:t> I</a:t>
            </a:r>
            <a:endParaRPr lang="en-GB" altLang="fr-FR" noProof="0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"/>
          </p:nvPr>
        </p:nvSpPr>
        <p:spPr bwMode="gray">
          <a:xfrm>
            <a:off x="0" y="6669088"/>
            <a:ext cx="358775" cy="1889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solidFill>
                  <a:schemeClr val="accent6">
                    <a:alpha val="0"/>
                  </a:schemeClr>
                </a:solidFill>
              </a:defRPr>
            </a:lvl1pPr>
          </a:lstStyle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35112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6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6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6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6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6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defTabSz="1258888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5"/>
          </a:solidFill>
          <a:latin typeface="+mn-lt"/>
          <a:ea typeface="+mn-ea"/>
          <a:cs typeface="+mn-cs"/>
        </a:defRPr>
      </a:lvl1pPr>
      <a:lvl2pPr algn="l" defTabSz="12588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sz="2200">
          <a:solidFill>
            <a:schemeClr val="tx1"/>
          </a:solidFill>
          <a:latin typeface="+mn-lt"/>
          <a:cs typeface="+mn-cs"/>
        </a:defRPr>
      </a:lvl2pPr>
      <a:lvl3pPr marL="215900" indent="-215900" algn="l" defTabSz="1258888" rtl="0" eaLnBrk="0" fontAlgn="base" hangingPunct="0">
        <a:lnSpc>
          <a:spcPct val="160000"/>
        </a:lnSpc>
        <a:spcBef>
          <a:spcPct val="0"/>
        </a:spcBef>
        <a:spcAft>
          <a:spcPct val="0"/>
        </a:spcAft>
        <a:buSzPct val="150000"/>
        <a:buFont typeface="Wingdings" pitchFamily="2" charset="2"/>
        <a:buChar char="¢"/>
        <a:defRPr sz="1200">
          <a:solidFill>
            <a:schemeClr val="tx1"/>
          </a:solidFill>
          <a:latin typeface="+mn-lt"/>
          <a:cs typeface="+mn-cs"/>
        </a:defRPr>
      </a:lvl3pPr>
      <a:lvl4pPr marL="215900" indent="-196850" algn="l" defTabSz="1258888" rtl="0" eaLnBrk="0" fontAlgn="base" hangingPunct="0">
        <a:lnSpc>
          <a:spcPct val="160000"/>
        </a:lnSpc>
        <a:spcBef>
          <a:spcPct val="0"/>
        </a:spcBef>
        <a:spcAft>
          <a:spcPct val="0"/>
        </a:spcAft>
        <a:buSzPct val="150000"/>
        <a:buFont typeface="Wingdings" pitchFamily="2" charset="2"/>
        <a:buChar char="¡"/>
        <a:defRPr sz="1000">
          <a:solidFill>
            <a:schemeClr val="tx1"/>
          </a:solidFill>
          <a:latin typeface="+mn-lt"/>
          <a:cs typeface="+mn-cs"/>
        </a:defRPr>
      </a:lvl4pPr>
      <a:lvl5pPr marL="431800" indent="-215900" algn="l" defTabSz="1258888" rtl="0" eaLnBrk="0" fontAlgn="base" hangingPunct="0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5pPr>
      <a:lvl6pPr marL="889000" indent="-215900" algn="l" defTabSz="1258888" rtl="0" fontAlgn="base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6pPr>
      <a:lvl7pPr marL="1346200" indent="-215900" algn="l" defTabSz="1258888" rtl="0" fontAlgn="base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7pPr>
      <a:lvl8pPr marL="1803400" indent="-215900" algn="l" defTabSz="1258888" rtl="0" fontAlgn="base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8pPr>
      <a:lvl9pPr marL="2260600" indent="-215900" algn="l" defTabSz="1258888" rtl="0" fontAlgn="base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8775" y="404813"/>
            <a:ext cx="7921625" cy="140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3" y="1808163"/>
            <a:ext cx="7596187" cy="421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0" y="6669088"/>
            <a:ext cx="684213" cy="1889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684213" y="6381750"/>
            <a:ext cx="6696075" cy="466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dirty="0" smtClean="0">
                <a:solidFill>
                  <a:srgbClr val="030F4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0" y="6381750"/>
            <a:ext cx="684213" cy="466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5400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solidFill>
                  <a:srgbClr val="AADC14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E0508A64-61F6-421B-9670-70656F920D0F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  <p:pic>
        <p:nvPicPr>
          <p:cNvPr id="10" name="Image 2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00" y="6138000"/>
            <a:ext cx="14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2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77" r:id="rId19"/>
    <p:sldLayoutId id="2147483978" r:id="rId2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1258888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b="1">
          <a:solidFill>
            <a:srgbClr val="030F40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1258888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500">
          <a:solidFill>
            <a:srgbClr val="030F40"/>
          </a:solidFill>
          <a:latin typeface="+mn-lt"/>
          <a:ea typeface="ＭＳ Ｐゴシック" charset="0"/>
          <a:cs typeface="ＭＳ Ｐゴシック"/>
        </a:defRPr>
      </a:lvl2pPr>
      <a:lvl3pPr marL="215900" indent="-215900" algn="l" defTabSz="1258888" rtl="0" eaLnBrk="0" fontAlgn="base" hangingPunct="0">
        <a:spcBef>
          <a:spcPct val="30000"/>
        </a:spcBef>
        <a:spcAft>
          <a:spcPct val="30000"/>
        </a:spcAft>
        <a:buClr>
          <a:srgbClr val="AADC14"/>
        </a:buClr>
        <a:buSzPct val="150000"/>
        <a:buFont typeface="Wingdings" pitchFamily="2" charset="2"/>
        <a:buChar char=""/>
        <a:defRPr sz="1200">
          <a:solidFill>
            <a:srgbClr val="030F40"/>
          </a:solidFill>
          <a:latin typeface="+mn-lt"/>
          <a:ea typeface="ＭＳ Ｐゴシック" charset="0"/>
          <a:cs typeface="ＭＳ Ｐゴシック"/>
        </a:defRPr>
      </a:lvl3pPr>
      <a:lvl4pPr marL="215900" indent="-196850" algn="l" defTabSz="1258888" rtl="0" eaLnBrk="0" fontAlgn="base" hangingPunct="0">
        <a:spcBef>
          <a:spcPct val="30000"/>
        </a:spcBef>
        <a:spcAft>
          <a:spcPct val="30000"/>
        </a:spcAft>
        <a:buClr>
          <a:srgbClr val="AADC14"/>
        </a:buClr>
        <a:buSzPct val="150000"/>
        <a:buFont typeface="Wingdings" pitchFamily="2" charset="2"/>
        <a:buChar char=""/>
        <a:defRPr sz="1000">
          <a:solidFill>
            <a:srgbClr val="030F40"/>
          </a:solidFill>
          <a:latin typeface="+mn-lt"/>
          <a:ea typeface="ＭＳ Ｐゴシック" charset="0"/>
          <a:cs typeface="ＭＳ Ｐゴシック"/>
        </a:defRPr>
      </a:lvl4pPr>
      <a:lvl5pPr marL="431800" indent="-215900" algn="l" defTabSz="1258888" rtl="0" eaLnBrk="0" fontAlgn="base" hangingPunct="0">
        <a:lnSpc>
          <a:spcPct val="120000"/>
        </a:lnSpc>
        <a:spcBef>
          <a:spcPct val="0"/>
        </a:spcBef>
        <a:spcAft>
          <a:spcPct val="0"/>
        </a:spcAft>
        <a:buClr>
          <a:srgbClr val="AADC14"/>
        </a:buClr>
        <a:buFont typeface="Wingdings" pitchFamily="2" charset="2"/>
        <a:buChar char="l"/>
        <a:defRPr sz="1000">
          <a:solidFill>
            <a:srgbClr val="030F40"/>
          </a:solidFill>
          <a:latin typeface="+mn-lt"/>
          <a:ea typeface="ＭＳ Ｐゴシック" charset="0"/>
          <a:cs typeface="ＭＳ Ｐゴシック"/>
        </a:defRPr>
      </a:lvl5pPr>
      <a:lvl6pPr marL="36925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6pPr>
      <a:lvl7pPr marL="41497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7pPr>
      <a:lvl8pPr marL="46069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8pPr>
      <a:lvl9pPr marL="50641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" name="Diapositiva de think-cell" r:id="rId23" imgW="270" imgH="270" progId="TCLayout.ActiveDocument.1">
                  <p:embed/>
                </p:oleObj>
              </mc:Choice>
              <mc:Fallback>
                <p:oleObj name="Diapositiva de think-cell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8775" y="404813"/>
            <a:ext cx="7921625" cy="140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3" y="1808163"/>
            <a:ext cx="7596187" cy="421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0" y="6669088"/>
            <a:ext cx="684213" cy="1889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684213" y="6381750"/>
            <a:ext cx="6696075" cy="466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dirty="0" smtClean="0">
                <a:solidFill>
                  <a:srgbClr val="030F4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0" y="6381750"/>
            <a:ext cx="684213" cy="466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5400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solidFill>
                  <a:srgbClr val="AADC14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E0508A64-61F6-421B-9670-70656F920D0F}" type="slidenum">
              <a:rPr lang="fr-FR" altLang="fr-FR"/>
              <a:pPr>
                <a:defRPr/>
              </a:pPr>
              <a:t>‹Nº›</a:t>
            </a:fld>
            <a:r>
              <a:rPr lang="fr-FR" altLang="fr-FR" dirty="0"/>
              <a:t> I</a:t>
            </a:r>
          </a:p>
        </p:txBody>
      </p:sp>
      <p:pic>
        <p:nvPicPr>
          <p:cNvPr id="10" name="Image 2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00" y="6138000"/>
            <a:ext cx="144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057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  <p:sldLayoutId id="2147483960" r:id="rId13"/>
    <p:sldLayoutId id="2147483961" r:id="rId14"/>
    <p:sldLayoutId id="2147483962" r:id="rId15"/>
    <p:sldLayoutId id="2147483963" r:id="rId16"/>
    <p:sldLayoutId id="2147483964" r:id="rId17"/>
    <p:sldLayoutId id="2147483965" r:id="rId18"/>
    <p:sldLayoutId id="2147483966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1258888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b="1">
          <a:solidFill>
            <a:srgbClr val="030F40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1258888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500">
          <a:solidFill>
            <a:srgbClr val="030F40"/>
          </a:solidFill>
          <a:latin typeface="+mn-lt"/>
          <a:ea typeface="ＭＳ Ｐゴシック" charset="0"/>
          <a:cs typeface="ＭＳ Ｐゴシック"/>
        </a:defRPr>
      </a:lvl2pPr>
      <a:lvl3pPr marL="215900" indent="-215900" algn="l" defTabSz="1258888" rtl="0" eaLnBrk="0" fontAlgn="base" hangingPunct="0">
        <a:spcBef>
          <a:spcPct val="30000"/>
        </a:spcBef>
        <a:spcAft>
          <a:spcPct val="30000"/>
        </a:spcAft>
        <a:buClr>
          <a:srgbClr val="AADC14"/>
        </a:buClr>
        <a:buSzPct val="150000"/>
        <a:buFont typeface="Wingdings" pitchFamily="2" charset="2"/>
        <a:buChar char=""/>
        <a:defRPr sz="1200">
          <a:solidFill>
            <a:srgbClr val="030F40"/>
          </a:solidFill>
          <a:latin typeface="+mn-lt"/>
          <a:ea typeface="ＭＳ Ｐゴシック" charset="0"/>
          <a:cs typeface="ＭＳ Ｐゴシック"/>
        </a:defRPr>
      </a:lvl3pPr>
      <a:lvl4pPr marL="215900" indent="-196850" algn="l" defTabSz="1258888" rtl="0" eaLnBrk="0" fontAlgn="base" hangingPunct="0">
        <a:spcBef>
          <a:spcPct val="30000"/>
        </a:spcBef>
        <a:spcAft>
          <a:spcPct val="30000"/>
        </a:spcAft>
        <a:buClr>
          <a:srgbClr val="AADC14"/>
        </a:buClr>
        <a:buSzPct val="150000"/>
        <a:buFont typeface="Wingdings" pitchFamily="2" charset="2"/>
        <a:buChar char=""/>
        <a:defRPr sz="1000">
          <a:solidFill>
            <a:srgbClr val="030F40"/>
          </a:solidFill>
          <a:latin typeface="+mn-lt"/>
          <a:ea typeface="ＭＳ Ｐゴシック" charset="0"/>
          <a:cs typeface="ＭＳ Ｐゴシック"/>
        </a:defRPr>
      </a:lvl4pPr>
      <a:lvl5pPr marL="431800" indent="-215900" algn="l" defTabSz="1258888" rtl="0" eaLnBrk="0" fontAlgn="base" hangingPunct="0">
        <a:lnSpc>
          <a:spcPct val="120000"/>
        </a:lnSpc>
        <a:spcBef>
          <a:spcPct val="0"/>
        </a:spcBef>
        <a:spcAft>
          <a:spcPct val="0"/>
        </a:spcAft>
        <a:buClr>
          <a:srgbClr val="AADC14"/>
        </a:buClr>
        <a:buFont typeface="Wingdings" pitchFamily="2" charset="2"/>
        <a:buChar char="l"/>
        <a:defRPr sz="1000">
          <a:solidFill>
            <a:srgbClr val="030F40"/>
          </a:solidFill>
          <a:latin typeface="+mn-lt"/>
          <a:ea typeface="ＭＳ Ｐゴシック" charset="0"/>
          <a:cs typeface="ＭＳ Ｐゴシック"/>
        </a:defRPr>
      </a:lvl5pPr>
      <a:lvl6pPr marL="36925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6pPr>
      <a:lvl7pPr marL="41497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7pPr>
      <a:lvl8pPr marL="46069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8pPr>
      <a:lvl9pPr marL="50641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ag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7188" y="512763"/>
            <a:ext cx="7923212" cy="162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s-E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775" y="2133600"/>
            <a:ext cx="7921625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s-ES" smtClean="0"/>
              <a:t>Cliquez pour modifier les styles du texte du masqu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"/>
          </p:nvPr>
        </p:nvSpPr>
        <p:spPr bwMode="gray">
          <a:xfrm>
            <a:off x="0" y="6669088"/>
            <a:ext cx="358775" cy="1889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00">
                <a:solidFill>
                  <a:schemeClr val="accent6">
                    <a:alpha val="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fr-FR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>
          <a:xfrm>
            <a:off x="0" y="6669088"/>
            <a:ext cx="358775" cy="18256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" smtClean="0">
                <a:solidFill>
                  <a:srgbClr val="AADC14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307A350-F6DC-44DA-9618-727EA8838881}" type="slidenum">
              <a:rPr lang="fr-FR" altLang="es-ES">
                <a:latin typeface="Arial" panose="020B0604020202020204" pitchFamily="34" charset="0"/>
                <a:ea typeface="MS PGothic" panose="020B0600070205080204" pitchFamily="34" charset="-128"/>
              </a:rPr>
              <a:pPr>
                <a:defRPr/>
              </a:pPr>
              <a:t>‹Nº›</a:t>
            </a:fld>
            <a:endParaRPr lang="fr-FR" altLang="es-ES" dirty="0"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pic>
        <p:nvPicPr>
          <p:cNvPr id="1031" name="Image 9" descr="SUEZ_BM_EN_GREEN_BG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7788" y="5454650"/>
            <a:ext cx="6245225" cy="105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0657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rgbClr val="030F40"/>
          </a:solidFill>
          <a:latin typeface="+mj-lt"/>
          <a:ea typeface="MS PGothic" panose="020B0600070205080204" pitchFamily="34" charset="-128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rgbClr val="030F40"/>
          </a:solidFill>
          <a:latin typeface="Arial" charset="0"/>
          <a:ea typeface="MS PGothic" panose="020B0600070205080204" pitchFamily="34" charset="-128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rgbClr val="030F40"/>
          </a:solidFill>
          <a:latin typeface="Arial" charset="0"/>
          <a:ea typeface="MS PGothic" panose="020B0600070205080204" pitchFamily="34" charset="-128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rgbClr val="030F40"/>
          </a:solidFill>
          <a:latin typeface="Arial" charset="0"/>
          <a:ea typeface="MS PGothic" panose="020B0600070205080204" pitchFamily="34" charset="-128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rgbClr val="030F40"/>
          </a:solidFill>
          <a:latin typeface="Arial" charset="0"/>
          <a:ea typeface="MS PGothic" panose="020B0600070205080204" pitchFamily="34" charset="-128"/>
          <a:cs typeface="ＭＳ Ｐゴシック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12588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+mn-lt"/>
          <a:ea typeface="MS PGothic" panose="020B0600070205080204" pitchFamily="34" charset="-128"/>
          <a:cs typeface="ＭＳ Ｐゴシック" charset="0"/>
        </a:defRPr>
      </a:lvl1pPr>
      <a:lvl2pPr marL="742950" indent="-285750" algn="l" defTabSz="1258888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defRPr sz="2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215900" indent="-215900" algn="l" defTabSz="1258888" rtl="0" eaLnBrk="0" fontAlgn="base" hangingPunct="0">
        <a:lnSpc>
          <a:spcPct val="160000"/>
        </a:lnSpc>
        <a:spcBef>
          <a:spcPct val="0"/>
        </a:spcBef>
        <a:spcAft>
          <a:spcPct val="0"/>
        </a:spcAft>
        <a:buSzPct val="150000"/>
        <a:buFont typeface="Wingdings" panose="05000000000000000000" pitchFamily="2" charset="2"/>
        <a:buChar char="¢"/>
        <a:defRPr sz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215900" indent="-196850" algn="l" defTabSz="1258888" rtl="0" eaLnBrk="0" fontAlgn="base" hangingPunct="0">
        <a:lnSpc>
          <a:spcPct val="160000"/>
        </a:lnSpc>
        <a:spcBef>
          <a:spcPct val="0"/>
        </a:spcBef>
        <a:spcAft>
          <a:spcPct val="0"/>
        </a:spcAft>
        <a:buSzPct val="150000"/>
        <a:buFont typeface="Wingdings" panose="05000000000000000000" pitchFamily="2" charset="2"/>
        <a:buChar char="¡"/>
        <a:defRPr sz="10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431800" indent="-215900" algn="l" defTabSz="1258888" rtl="0" eaLnBrk="0" fontAlgn="base" hangingPunct="0">
        <a:lnSpc>
          <a:spcPct val="120000"/>
        </a:lnSpc>
        <a:spcBef>
          <a:spcPct val="0"/>
        </a:spcBef>
        <a:spcAft>
          <a:spcPct val="0"/>
        </a:spcAft>
        <a:buFont typeface="Wingdings" panose="05000000000000000000" pitchFamily="2" charset="2"/>
        <a:buChar char="l"/>
        <a:defRPr sz="10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889000" indent="-215900" algn="l" defTabSz="1258888" rtl="0" fontAlgn="base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6pPr>
      <a:lvl7pPr marL="1346200" indent="-215900" algn="l" defTabSz="1258888" rtl="0" fontAlgn="base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7pPr>
      <a:lvl8pPr marL="1803400" indent="-215900" algn="l" defTabSz="1258888" rtl="0" fontAlgn="base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8pPr>
      <a:lvl9pPr marL="2260600" indent="-215900" algn="l" defTabSz="1258888" rtl="0" fontAlgn="base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7189" y="512763"/>
            <a:ext cx="7923098" cy="162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fr-FR" noProof="0" dirty="0" err="1" smtClean="0"/>
              <a:t>Title</a:t>
            </a:r>
            <a:endParaRPr lang="es-ES" altLang="fr-FR" noProof="0" dirty="0" smtClean="0"/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775" y="2133600"/>
            <a:ext cx="7921625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fr-FR" noProof="0" dirty="0" err="1" smtClean="0"/>
              <a:t>Subtitle</a:t>
            </a:r>
            <a:endParaRPr lang="es-ES" altLang="fr-FR" noProof="0" dirty="0" smtClean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"/>
          </p:nvPr>
        </p:nvSpPr>
        <p:spPr bwMode="gray">
          <a:xfrm>
            <a:off x="0" y="6669088"/>
            <a:ext cx="358775" cy="1889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solidFill>
                  <a:schemeClr val="accent6">
                    <a:alpha val="0"/>
                  </a:schemeClr>
                </a:solidFill>
              </a:defRPr>
            </a:lvl1pPr>
          </a:lstStyle>
          <a:p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 bwMode="gray">
          <a:xfrm>
            <a:off x="0" y="6669088"/>
            <a:ext cx="358775" cy="1895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solidFill>
                  <a:schemeClr val="accent6">
                    <a:alpha val="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AADC14">
                    <a:alpha val="0"/>
                  </a:srgbClr>
                </a:solidFill>
              </a:rPr>
              <a:t>document title - date (Personalise the footer with "Insert / Header and Footer)</a:t>
            </a:r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 bwMode="gray">
          <a:xfrm>
            <a:off x="0" y="6669088"/>
            <a:ext cx="358775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">
                <a:solidFill>
                  <a:schemeClr val="accent6">
                    <a:alpha val="0"/>
                  </a:schemeClr>
                </a:solidFill>
              </a:defRPr>
            </a:lvl1pPr>
          </a:lstStyle>
          <a:p>
            <a:fld id="{24368A89-9C7F-43A7-BE10-515E8145AD10}" type="slidenum">
              <a:rPr lang="en-GB" smtClean="0">
                <a:solidFill>
                  <a:srgbClr val="AADC14">
                    <a:alpha val="0"/>
                  </a:srgbClr>
                </a:solidFill>
              </a:rPr>
              <a:pPr/>
              <a:t>‹Nº›</a:t>
            </a:fld>
            <a:endParaRPr lang="en-GB" dirty="0">
              <a:solidFill>
                <a:srgbClr val="AADC14">
                  <a:alpha val="0"/>
                </a:srgbClr>
              </a:solidFill>
            </a:endParaRPr>
          </a:p>
        </p:txBody>
      </p:sp>
      <p:pic>
        <p:nvPicPr>
          <p:cNvPr id="9" name="Imag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18000"/>
            <a:ext cx="9144000" cy="1441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332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accent5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bg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defTabSz="125888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+mn-lt"/>
          <a:ea typeface="+mn-ea"/>
          <a:cs typeface="+mn-cs"/>
        </a:defRPr>
      </a:lvl1pPr>
      <a:lvl2pPr algn="l" defTabSz="1258888" rtl="0" eaLnBrk="1" fontAlgn="base" hangingPunct="1">
        <a:lnSpc>
          <a:spcPct val="90000"/>
        </a:lnSpc>
        <a:spcBef>
          <a:spcPct val="50000"/>
        </a:spcBef>
        <a:spcAft>
          <a:spcPct val="0"/>
        </a:spcAft>
        <a:defRPr sz="2200">
          <a:solidFill>
            <a:schemeClr val="tx1"/>
          </a:solidFill>
          <a:latin typeface="+mn-lt"/>
          <a:cs typeface="+mn-cs"/>
        </a:defRPr>
      </a:lvl2pPr>
      <a:lvl3pPr marL="215900" indent="-215900" algn="l" defTabSz="1258888" rtl="0" eaLnBrk="1" fontAlgn="base" hangingPunct="1">
        <a:lnSpc>
          <a:spcPct val="160000"/>
        </a:lnSpc>
        <a:spcBef>
          <a:spcPct val="0"/>
        </a:spcBef>
        <a:spcAft>
          <a:spcPct val="0"/>
        </a:spcAft>
        <a:buSzPct val="150000"/>
        <a:buFont typeface="Wingdings" pitchFamily="2" charset="2"/>
        <a:buChar char="¢"/>
        <a:defRPr sz="1200">
          <a:solidFill>
            <a:schemeClr val="tx1"/>
          </a:solidFill>
          <a:latin typeface="+mn-lt"/>
          <a:cs typeface="+mn-cs"/>
        </a:defRPr>
      </a:lvl3pPr>
      <a:lvl4pPr marL="215900" indent="-196850" algn="l" defTabSz="1258888" rtl="0" eaLnBrk="1" fontAlgn="base" hangingPunct="1">
        <a:lnSpc>
          <a:spcPct val="160000"/>
        </a:lnSpc>
        <a:spcBef>
          <a:spcPct val="0"/>
        </a:spcBef>
        <a:spcAft>
          <a:spcPct val="0"/>
        </a:spcAft>
        <a:buSzPct val="150000"/>
        <a:buFont typeface="Wingdings" pitchFamily="2" charset="2"/>
        <a:buChar char="¡"/>
        <a:defRPr sz="1000">
          <a:solidFill>
            <a:schemeClr val="tx1"/>
          </a:solidFill>
          <a:latin typeface="+mn-lt"/>
          <a:cs typeface="+mn-cs"/>
        </a:defRPr>
      </a:lvl4pPr>
      <a:lvl5pPr marL="431800" indent="-215900" algn="l" defTabSz="125888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5pPr>
      <a:lvl6pPr marL="889000" indent="-215900" algn="l" defTabSz="125888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6pPr>
      <a:lvl7pPr marL="1346200" indent="-215900" algn="l" defTabSz="125888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7pPr>
      <a:lvl8pPr marL="1803400" indent="-215900" algn="l" defTabSz="125888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8pPr>
      <a:lvl9pPr marL="2260600" indent="-215900" algn="l" defTabSz="125888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0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13.png"/><Relationship Id="rId4" Type="http://schemas.openxmlformats.org/officeDocument/2006/relationships/image" Target="../media/image5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6.jpeg"/><Relationship Id="rId5" Type="http://schemas.microsoft.com/office/2007/relationships/hdphoto" Target="../media/hdphoto1.wdp"/><Relationship Id="rId10" Type="http://schemas.openxmlformats.org/officeDocument/2006/relationships/image" Target="../media/image30.jpeg"/><Relationship Id="rId4" Type="http://schemas.openxmlformats.org/officeDocument/2006/relationships/image" Target="../media/image25.jpeg"/><Relationship Id="rId9" Type="http://schemas.openxmlformats.org/officeDocument/2006/relationships/image" Target="../media/image2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3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30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33.pn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31.emf"/><Relationship Id="rId1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42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357188" y="3918857"/>
            <a:ext cx="3568268" cy="490961"/>
          </a:xfrm>
        </p:spPr>
        <p:txBody>
          <a:bodyPr/>
          <a:lstStyle/>
          <a:p>
            <a:pPr marL="0" indent="0"/>
            <a:r>
              <a:rPr lang="en-GB" sz="1600" i="1" dirty="0" smtClean="0">
                <a:ea typeface="ＭＳ Ｐゴシック"/>
                <a:cs typeface="ＭＳ Ｐゴシック"/>
              </a:rPr>
              <a:t>Antoni Diaz Vendrell</a:t>
            </a:r>
          </a:p>
          <a:p>
            <a:pPr defTabSz="268288"/>
            <a:r>
              <a:rPr lang="en-GB" sz="1600" i="1" dirty="0" smtClean="0">
                <a:ea typeface="ＭＳ Ｐゴシック"/>
                <a:cs typeface="ＭＳ Ｐゴシック"/>
              </a:rPr>
              <a:t>Juan Manuel Vázquez Hermida</a:t>
            </a:r>
            <a:endParaRPr lang="en-GB" sz="1600" i="1" dirty="0">
              <a:ea typeface="ＭＳ Ｐゴシック"/>
              <a:cs typeface="ＭＳ Ｐゴシック"/>
            </a:endParaRPr>
          </a:p>
        </p:txBody>
      </p:sp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357188" y="2298020"/>
            <a:ext cx="7696921" cy="1620837"/>
          </a:xfrm>
        </p:spPr>
        <p:txBody>
          <a:bodyPr/>
          <a:lstStyle/>
          <a:p>
            <a:r>
              <a:rPr lang="en-GB" sz="4000" dirty="0" smtClean="0">
                <a:solidFill>
                  <a:srgbClr val="030F40"/>
                </a:solidFill>
                <a:ea typeface="ＭＳ Ｐゴシック"/>
                <a:cs typeface="ＭＳ Ｐゴシック"/>
              </a:rPr>
              <a:t>El </a:t>
            </a:r>
            <a:r>
              <a:rPr lang="es-ES" sz="4000" dirty="0">
                <a:solidFill>
                  <a:srgbClr val="030F40"/>
                </a:solidFill>
                <a:ea typeface="ＭＳ Ｐゴシック"/>
                <a:cs typeface="ＭＳ Ｐゴシック"/>
              </a:rPr>
              <a:t>mercado, el cultivo y las necesidades de agua</a:t>
            </a:r>
            <a:br>
              <a:rPr lang="es-ES" sz="4000" dirty="0">
                <a:solidFill>
                  <a:srgbClr val="030F40"/>
                </a:solidFill>
                <a:ea typeface="ＭＳ Ｐゴシック"/>
                <a:cs typeface="ＭＳ Ｐゴシック"/>
              </a:rPr>
            </a:br>
            <a:endParaRPr lang="en-GB" sz="4000" dirty="0">
              <a:solidFill>
                <a:srgbClr val="030F40"/>
              </a:solidFill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754714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contenido 2"/>
          <p:cNvSpPr>
            <a:spLocks noGrp="1"/>
          </p:cNvSpPr>
          <p:nvPr>
            <p:ph idx="1"/>
          </p:nvPr>
        </p:nvSpPr>
        <p:spPr>
          <a:xfrm>
            <a:off x="432285" y="1671513"/>
            <a:ext cx="8075362" cy="4672138"/>
          </a:xfrm>
        </p:spPr>
        <p:txBody>
          <a:bodyPr>
            <a:normAutofit/>
          </a:bodyPr>
          <a:lstStyle/>
          <a:p>
            <a:r>
              <a:rPr lang="es-ES" sz="1600" dirty="0" smtClean="0">
                <a:latin typeface="Calibri" panose="020F0502020204030204" pitchFamily="34" charset="0"/>
              </a:rPr>
              <a:t>Gestión de pozos y sondeos </a:t>
            </a:r>
          </a:p>
          <a:p>
            <a:r>
              <a:rPr lang="es-ES" sz="1600" dirty="0" smtClean="0">
                <a:latin typeface="Calibri" panose="020F0502020204030204" pitchFamily="34" charset="0"/>
              </a:rPr>
              <a:t>Mantenimiento de Bals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>
                <a:latin typeface="Calibri" panose="020F0502020204030204" pitchFamily="34" charset="0"/>
              </a:rPr>
              <a:t>Limpieza de lámina y talud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>
                <a:latin typeface="Calibri" panose="020F0502020204030204" pitchFamily="34" charset="0"/>
              </a:rPr>
              <a:t>C</a:t>
            </a:r>
            <a:r>
              <a:rPr lang="es-ES" sz="1300" dirty="0" smtClean="0">
                <a:latin typeface="Calibri" panose="020F0502020204030204" pitchFamily="34" charset="0"/>
              </a:rPr>
              <a:t>ontrol </a:t>
            </a:r>
            <a:r>
              <a:rPr lang="es-ES" sz="1300" dirty="0">
                <a:latin typeface="Calibri" panose="020F0502020204030204" pitchFamily="34" charset="0"/>
              </a:rPr>
              <a:t>de </a:t>
            </a:r>
            <a:r>
              <a:rPr lang="es-ES" sz="1300" dirty="0" smtClean="0">
                <a:latin typeface="Calibri" panose="020F0502020204030204" pitchFamily="34" charset="0"/>
              </a:rPr>
              <a:t>algas, fangos y especies invasoras</a:t>
            </a:r>
            <a:endParaRPr lang="es-ES" sz="1300" dirty="0">
              <a:latin typeface="Calibri" panose="020F050202020403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 smtClean="0">
                <a:latin typeface="Calibri" panose="020F0502020204030204" pitchFamily="34" charset="0"/>
              </a:rPr>
              <a:t>Cubrición de balsas y Planes </a:t>
            </a:r>
            <a:r>
              <a:rPr lang="es-ES" sz="1300" dirty="0">
                <a:latin typeface="Calibri" panose="020F0502020204030204" pitchFamily="34" charset="0"/>
              </a:rPr>
              <a:t>de emergencia</a:t>
            </a:r>
          </a:p>
          <a:p>
            <a:r>
              <a:rPr lang="es-ES" sz="1600" dirty="0" smtClean="0">
                <a:latin typeface="Calibri" panose="020F0502020204030204" pitchFamily="34" charset="0"/>
              </a:rPr>
              <a:t>Teledetecció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 smtClean="0">
                <a:latin typeface="Calibri" panose="020F0502020204030204" pitchFamily="34" charset="0"/>
              </a:rPr>
              <a:t>Análisis cultivo</a:t>
            </a:r>
            <a:endParaRPr lang="es-ES" sz="1300" dirty="0">
              <a:latin typeface="Calibri" panose="020F050202020403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 smtClean="0">
                <a:latin typeface="Calibri" panose="020F0502020204030204" pitchFamily="34" charset="0"/>
              </a:rPr>
              <a:t>Parcelarios, análisis de la demanda</a:t>
            </a:r>
          </a:p>
          <a:p>
            <a:r>
              <a:rPr lang="es-ES" sz="1600" dirty="0" smtClean="0">
                <a:latin typeface="Calibri" panose="020F0502020204030204" pitchFamily="34" charset="0"/>
              </a:rPr>
              <a:t>Sensórica avanzada control del riego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 smtClean="0">
                <a:latin typeface="Calibri" panose="020F0502020204030204" pitchFamily="34" charset="0"/>
              </a:rPr>
              <a:t>Menor consumo agua y abono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 smtClean="0">
                <a:latin typeface="Calibri" panose="020F0502020204030204" pitchFamily="34" charset="0"/>
              </a:rPr>
              <a:t>Incremento producción y calidad del fruto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 smtClean="0">
                <a:latin typeface="Calibri" panose="020F0502020204030204" pitchFamily="34" charset="0"/>
              </a:rPr>
              <a:t>Beneficio medioambienta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 smtClean="0">
                <a:latin typeface="Calibri" panose="020F0502020204030204" pitchFamily="34" charset="0"/>
              </a:rPr>
              <a:t>Determinación huella hídrica</a:t>
            </a:r>
          </a:p>
          <a:p>
            <a:r>
              <a:rPr lang="es-ES" sz="1600" dirty="0" smtClean="0">
                <a:latin typeface="Calibri" panose="020F0502020204030204" pitchFamily="34" charset="0"/>
              </a:rPr>
              <a:t>Mantenimiento de Redes y Equipo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 smtClean="0">
                <a:latin typeface="Calibri" panose="020F0502020204030204" pitchFamily="34" charset="0"/>
              </a:rPr>
              <a:t>Análisis </a:t>
            </a:r>
            <a:r>
              <a:rPr lang="es-ES" sz="1300" dirty="0">
                <a:latin typeface="Calibri" panose="020F0502020204030204" pitchFamily="34" charset="0"/>
              </a:rPr>
              <a:t>de Redes, Monitorización, </a:t>
            </a:r>
            <a:r>
              <a:rPr lang="es-ES" sz="1300" dirty="0" smtClean="0">
                <a:latin typeface="Calibri" panose="020F0502020204030204" pitchFamily="34" charset="0"/>
              </a:rPr>
              <a:t>Sectorización, Transitorios, Roturas recurrentes</a:t>
            </a:r>
            <a:endParaRPr lang="es-ES" sz="1300" dirty="0">
              <a:latin typeface="Calibri" panose="020F050202020403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>
                <a:latin typeface="Calibri" panose="020F0502020204030204" pitchFamily="34" charset="0"/>
              </a:rPr>
              <a:t>Detección de Fugas, </a:t>
            </a:r>
            <a:r>
              <a:rPr lang="es-ES" sz="1300" dirty="0" smtClean="0">
                <a:latin typeface="Calibri" panose="020F0502020204030204" pitchFamily="34" charset="0"/>
              </a:rPr>
              <a:t>Limpieza </a:t>
            </a:r>
            <a:r>
              <a:rPr lang="es-ES" sz="1300" dirty="0">
                <a:latin typeface="Calibri" panose="020F0502020204030204" pitchFamily="34" charset="0"/>
              </a:rPr>
              <a:t>de </a:t>
            </a:r>
            <a:r>
              <a:rPr lang="es-ES" sz="1300" dirty="0" smtClean="0">
                <a:latin typeface="Calibri" panose="020F0502020204030204" pitchFamily="34" charset="0"/>
              </a:rPr>
              <a:t>tuberías</a:t>
            </a:r>
            <a:r>
              <a:rPr lang="es-ES" sz="1300" dirty="0">
                <a:latin typeface="Calibri" panose="020F0502020204030204" pitchFamily="34" charset="0"/>
              </a:rPr>
              <a:t> </a:t>
            </a:r>
            <a:r>
              <a:rPr lang="es-ES" sz="1300" dirty="0" smtClean="0">
                <a:latin typeface="Calibri" panose="020F0502020204030204" pitchFamily="34" charset="0"/>
              </a:rPr>
              <a:t>con Hielo, Tecnologías sin zanja.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300" dirty="0" smtClean="0">
                <a:latin typeface="Calibri" panose="020F0502020204030204" pitchFamily="34" charset="0"/>
              </a:rPr>
              <a:t>Verificaciones de contadores, Equipos de filtrado, Grupos bombeo…</a:t>
            </a:r>
            <a:endParaRPr lang="es-ES" dirty="0" smtClean="0">
              <a:latin typeface="Calibri" panose="020F0502020204030204" pitchFamily="34" charset="0"/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4683679" y="1274656"/>
            <a:ext cx="1783368" cy="310243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6"/>
              </a:buClr>
            </a:pPr>
            <a:endParaRPr lang="es-ES_tradnl" sz="16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9" name="Picture 2" descr="Ondas De Radio, Wifi, Inalámbrica, Señal, Interne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6183" y="2343149"/>
            <a:ext cx="551260" cy="408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4217" y="2227380"/>
            <a:ext cx="433155" cy="619058"/>
          </a:xfrm>
          <a:prstGeom prst="rect">
            <a:avLst/>
          </a:prstGeom>
        </p:spPr>
      </p:pic>
      <p:sp>
        <p:nvSpPr>
          <p:cNvPr id="31" name="CuadroTexto 30"/>
          <p:cNvSpPr txBox="1"/>
          <p:nvPr/>
        </p:nvSpPr>
        <p:spPr>
          <a:xfrm>
            <a:off x="5459906" y="2807615"/>
            <a:ext cx="13431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Ultrasonidos</a:t>
            </a:r>
            <a:endParaRPr lang="es-ES" sz="1100" dirty="0"/>
          </a:p>
        </p:txBody>
      </p:sp>
      <p:sp>
        <p:nvSpPr>
          <p:cNvPr id="32" name="CuadroTexto 31"/>
          <p:cNvSpPr txBox="1"/>
          <p:nvPr/>
        </p:nvSpPr>
        <p:spPr>
          <a:xfrm>
            <a:off x="6474713" y="2807615"/>
            <a:ext cx="8969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Aireación </a:t>
            </a:r>
            <a:endParaRPr lang="es-ES" sz="1100" dirty="0"/>
          </a:p>
        </p:txBody>
      </p:sp>
      <p:pic>
        <p:nvPicPr>
          <p:cNvPr id="33" name="Picture 4" descr="Resultado de imagen de biocidas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42" r="34440"/>
          <a:stretch/>
        </p:blipFill>
        <p:spPr bwMode="auto">
          <a:xfrm>
            <a:off x="7374116" y="2281808"/>
            <a:ext cx="679438" cy="530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CuadroTexto 33"/>
          <p:cNvSpPr txBox="1"/>
          <p:nvPr/>
        </p:nvSpPr>
        <p:spPr>
          <a:xfrm>
            <a:off x="7443741" y="2807615"/>
            <a:ext cx="10065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Biocidas </a:t>
            </a:r>
            <a:endParaRPr lang="es-ES" sz="1100" dirty="0"/>
          </a:p>
        </p:txBody>
      </p:sp>
      <p:sp>
        <p:nvSpPr>
          <p:cNvPr id="35" name="Flecha derecha 34"/>
          <p:cNvSpPr/>
          <p:nvPr/>
        </p:nvSpPr>
        <p:spPr>
          <a:xfrm>
            <a:off x="4805453" y="2484884"/>
            <a:ext cx="448365" cy="307425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36" name="Picture 8" descr="Resultado de imagen de tensiometros agricola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9966" y="4211248"/>
            <a:ext cx="858829" cy="910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Imagen 3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09570" y="4272691"/>
            <a:ext cx="2272126" cy="787602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5332" y="3123326"/>
            <a:ext cx="697408" cy="673852"/>
          </a:xfrm>
          <a:prstGeom prst="ellipse">
            <a:avLst/>
          </a:prstGeom>
          <a:ln w="22225">
            <a:solidFill>
              <a:schemeClr val="accent2">
                <a:lumMod val="75000"/>
              </a:schemeClr>
            </a:solidFill>
          </a:ln>
          <a:effectLst>
            <a:softEdge rad="0"/>
          </a:effectLst>
        </p:spPr>
      </p:pic>
      <p:grpSp>
        <p:nvGrpSpPr>
          <p:cNvPr id="39" name="Grupo 38"/>
          <p:cNvGrpSpPr/>
          <p:nvPr/>
        </p:nvGrpSpPr>
        <p:grpSpPr>
          <a:xfrm>
            <a:off x="3331471" y="1470653"/>
            <a:ext cx="4487784" cy="536678"/>
            <a:chOff x="220995" y="1397978"/>
            <a:chExt cx="5115666" cy="636266"/>
          </a:xfrm>
        </p:grpSpPr>
        <p:sp>
          <p:nvSpPr>
            <p:cNvPr id="40" name="Elipse 39"/>
            <p:cNvSpPr/>
            <p:nvPr/>
          </p:nvSpPr>
          <p:spPr>
            <a:xfrm rot="19917899">
              <a:off x="1428631" y="1471032"/>
              <a:ext cx="1307704" cy="542664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400" dirty="0"/>
            </a:p>
          </p:txBody>
        </p:sp>
        <p:sp>
          <p:nvSpPr>
            <p:cNvPr id="42" name="Elipse 41"/>
            <p:cNvSpPr/>
            <p:nvPr/>
          </p:nvSpPr>
          <p:spPr>
            <a:xfrm rot="19917899">
              <a:off x="220995" y="1491580"/>
              <a:ext cx="1307704" cy="54266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400" dirty="0"/>
            </a:p>
          </p:txBody>
        </p:sp>
        <p:sp>
          <p:nvSpPr>
            <p:cNvPr id="43" name="Elipse 42"/>
            <p:cNvSpPr/>
            <p:nvPr/>
          </p:nvSpPr>
          <p:spPr>
            <a:xfrm rot="19917899">
              <a:off x="2641229" y="1451033"/>
              <a:ext cx="1307704" cy="54266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400" dirty="0"/>
            </a:p>
          </p:txBody>
        </p:sp>
        <p:sp>
          <p:nvSpPr>
            <p:cNvPr id="44" name="CuadroTexto 43"/>
            <p:cNvSpPr txBox="1"/>
            <p:nvPr/>
          </p:nvSpPr>
          <p:spPr>
            <a:xfrm>
              <a:off x="306331" y="1572117"/>
              <a:ext cx="1368000" cy="288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0" rIns="36000" bIns="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6"/>
                </a:buClr>
              </a:pPr>
              <a:r>
                <a:rPr lang="es-ES_tradnl" sz="1400" b="1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stes ↓</a:t>
              </a:r>
            </a:p>
          </p:txBody>
        </p:sp>
        <p:sp>
          <p:nvSpPr>
            <p:cNvPr id="49" name="Rectángulo 48"/>
            <p:cNvSpPr/>
            <p:nvPr/>
          </p:nvSpPr>
          <p:spPr>
            <a:xfrm>
              <a:off x="1480959" y="1551209"/>
              <a:ext cx="1368000" cy="288000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6"/>
                </a:buClr>
              </a:pPr>
              <a:r>
                <a:rPr lang="es-ES_tradnl" sz="1400" b="1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iabilidad ↑</a:t>
              </a:r>
            </a:p>
          </p:txBody>
        </p:sp>
        <p:sp>
          <p:nvSpPr>
            <p:cNvPr id="51" name="Rectángulo 50"/>
            <p:cNvSpPr/>
            <p:nvPr/>
          </p:nvSpPr>
          <p:spPr>
            <a:xfrm>
              <a:off x="2489404" y="1507657"/>
              <a:ext cx="1783368" cy="310243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6"/>
                </a:buClr>
              </a:pPr>
              <a:r>
                <a:rPr lang="es-ES_tradnl" sz="1400" b="1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audal ↑</a:t>
              </a:r>
            </a:p>
          </p:txBody>
        </p:sp>
        <p:sp>
          <p:nvSpPr>
            <p:cNvPr id="52" name="Elipse 51"/>
            <p:cNvSpPr/>
            <p:nvPr/>
          </p:nvSpPr>
          <p:spPr>
            <a:xfrm rot="19917899">
              <a:off x="3930416" y="1397978"/>
              <a:ext cx="1307704" cy="542664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400" dirty="0"/>
            </a:p>
          </p:txBody>
        </p:sp>
        <p:sp>
          <p:nvSpPr>
            <p:cNvPr id="53" name="Rectángulo 52"/>
            <p:cNvSpPr/>
            <p:nvPr/>
          </p:nvSpPr>
          <p:spPr>
            <a:xfrm>
              <a:off x="3968661" y="1509337"/>
              <a:ext cx="1368000" cy="288000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pPr algn="ctr">
                <a:lnSpc>
                  <a:spcPts val="13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6"/>
                </a:buClr>
              </a:pPr>
              <a:r>
                <a:rPr lang="es-ES_tradnl" sz="1400" b="1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nitorización</a:t>
              </a:r>
            </a:p>
            <a:p>
              <a:pPr algn="ctr">
                <a:lnSpc>
                  <a:spcPts val="13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6"/>
                </a:buClr>
              </a:pPr>
              <a:r>
                <a:rPr lang="es-ES_tradnl" sz="1400" b="1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Y Operación</a:t>
              </a:r>
              <a:endParaRPr lang="es-ES_tradnl" sz="1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4" name="Espace réservé du texte 3"/>
          <p:cNvSpPr txBox="1">
            <a:spLocks/>
          </p:cNvSpPr>
          <p:nvPr/>
        </p:nvSpPr>
        <p:spPr bwMode="gray">
          <a:xfrm>
            <a:off x="358775" y="403200"/>
            <a:ext cx="8500553" cy="703757"/>
          </a:xfrm>
          <a:prstGeom prst="rect">
            <a:avLst/>
          </a:prstGeom>
        </p:spPr>
        <p:txBody>
          <a:bodyPr/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GB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El </a:t>
            </a:r>
            <a:r>
              <a:rPr lang="es-ES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mercado</a:t>
            </a:r>
            <a:r>
              <a:rPr lang="es-ES" sz="250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, el cultivo y las necesidades de agua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</a:pPr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Gestión de Activos hidráulicos</a:t>
            </a:r>
            <a:endParaRPr lang="en-GB" sz="2000" dirty="0">
              <a:solidFill>
                <a:srgbClr val="BFBFBF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633598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37 Cerrar corchete"/>
          <p:cNvSpPr/>
          <p:nvPr/>
        </p:nvSpPr>
        <p:spPr>
          <a:xfrm rot="20068196">
            <a:off x="3947925" y="4810624"/>
            <a:ext cx="56762" cy="580182"/>
          </a:xfrm>
          <a:prstGeom prst="rightBracket">
            <a:avLst/>
          </a:prstGeom>
          <a:ln w="12700">
            <a:solidFill>
              <a:srgbClr val="030F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s-ES" dirty="0">
              <a:latin typeface="Calibri" panose="020F0502020204030204" pitchFamily="34" charset="0"/>
            </a:endParaRPr>
          </a:p>
        </p:txBody>
      </p:sp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1269514863"/>
              </p:ext>
            </p:extLst>
          </p:nvPr>
        </p:nvGraphicFramePr>
        <p:xfrm>
          <a:off x="102791" y="1561602"/>
          <a:ext cx="4189606" cy="44200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Llamada con línea 1 (borde y barra de énfasis) 7"/>
          <p:cNvSpPr/>
          <p:nvPr/>
        </p:nvSpPr>
        <p:spPr>
          <a:xfrm>
            <a:off x="4924426" y="3520332"/>
            <a:ext cx="4038600" cy="886776"/>
          </a:xfrm>
          <a:prstGeom prst="accentBorderCallout1">
            <a:avLst>
              <a:gd name="adj1" fmla="val 49241"/>
              <a:gd name="adj2" fmla="val -3144"/>
              <a:gd name="adj3" fmla="val 49846"/>
              <a:gd name="adj4" fmla="val -40684"/>
            </a:avLst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defRPr/>
            </a:pPr>
            <a:r>
              <a:rPr lang="es-ES_tradnl" sz="1300" b="1" dirty="0" smtClean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Red de Hidrantes</a:t>
            </a:r>
          </a:p>
          <a:p>
            <a:pPr algn="just">
              <a:defRPr/>
            </a:pPr>
            <a:r>
              <a:rPr lang="es-ES_tradnl" sz="1300" dirty="0" smtClean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- Automatización de la Red de Hidrantes que permite Apertura y cierre válvulas, lectura contadores y modos de programación.</a:t>
            </a:r>
            <a:endParaRPr lang="es-ES" sz="1300" dirty="0">
              <a:solidFill>
                <a:srgbClr val="030F40"/>
              </a:solidFill>
              <a:latin typeface="Calibri" panose="020F0502020204030204" pitchFamily="34" charset="0"/>
            </a:endParaRPr>
          </a:p>
        </p:txBody>
      </p:sp>
      <p:sp>
        <p:nvSpPr>
          <p:cNvPr id="65" name="Llamada con línea 1 (borde y barra de énfasis) 64"/>
          <p:cNvSpPr/>
          <p:nvPr/>
        </p:nvSpPr>
        <p:spPr>
          <a:xfrm>
            <a:off x="4924426" y="2451704"/>
            <a:ext cx="4038600" cy="865477"/>
          </a:xfrm>
          <a:prstGeom prst="accentBorderCallout1">
            <a:avLst>
              <a:gd name="adj1" fmla="val 49241"/>
              <a:gd name="adj2" fmla="val -3144"/>
              <a:gd name="adj3" fmla="val 51900"/>
              <a:gd name="adj4" fmla="val -52004"/>
            </a:avLst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defRPr/>
            </a:pPr>
            <a:r>
              <a:rPr lang="es-ES_tradnl" sz="1300" b="1" dirty="0" smtClean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Información </a:t>
            </a:r>
            <a:r>
              <a:rPr lang="es-ES_tradnl" sz="1300" b="1" dirty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en Parcela</a:t>
            </a:r>
          </a:p>
          <a:p>
            <a:pPr algn="just">
              <a:defRPr/>
            </a:pPr>
            <a:r>
              <a:rPr lang="es-ES_tradnl" sz="1300" dirty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- </a:t>
            </a:r>
            <a:r>
              <a:rPr lang="es-ES_tradnl" sz="1300" dirty="0" smtClean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Posibilidad de integrar Sensórica </a:t>
            </a:r>
            <a:r>
              <a:rPr lang="es-ES_tradnl" sz="1300" dirty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de campo </a:t>
            </a:r>
            <a:r>
              <a:rPr lang="es-ES_tradnl" sz="1300" dirty="0" smtClean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y generar  </a:t>
            </a:r>
            <a:r>
              <a:rPr lang="es-ES_tradnl" sz="1300" dirty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recomendaciones de Riego</a:t>
            </a:r>
          </a:p>
        </p:txBody>
      </p:sp>
      <p:sp>
        <p:nvSpPr>
          <p:cNvPr id="71" name="Llamada con línea 1 (borde y barra de énfasis) 70"/>
          <p:cNvSpPr/>
          <p:nvPr/>
        </p:nvSpPr>
        <p:spPr>
          <a:xfrm>
            <a:off x="4924426" y="1600554"/>
            <a:ext cx="4038600" cy="648000"/>
          </a:xfrm>
          <a:prstGeom prst="accentBorderCallout1">
            <a:avLst>
              <a:gd name="adj1" fmla="val 49241"/>
              <a:gd name="adj2" fmla="val -3144"/>
              <a:gd name="adj3" fmla="val 48376"/>
              <a:gd name="adj4" fmla="val -57901"/>
            </a:avLst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defRPr/>
            </a:pPr>
            <a:r>
              <a:rPr lang="es-ES_tradnl" sz="1300" b="1" dirty="0" smtClean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Gestión de la información</a:t>
            </a:r>
          </a:p>
          <a:p>
            <a:pPr algn="just">
              <a:defRPr/>
            </a:pPr>
            <a:r>
              <a:rPr lang="es-ES_tradnl" sz="1300" dirty="0" smtClean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- </a:t>
            </a:r>
            <a:r>
              <a:rPr lang="es-ES_tradnl" sz="1300" dirty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Plataforma de visualización y gestión de la información relacionada con la gestión de la CR</a:t>
            </a:r>
          </a:p>
        </p:txBody>
      </p:sp>
      <p:sp>
        <p:nvSpPr>
          <p:cNvPr id="72" name="Llamada con línea 1 (borde y barra de énfasis) 71"/>
          <p:cNvSpPr/>
          <p:nvPr/>
        </p:nvSpPr>
        <p:spPr>
          <a:xfrm>
            <a:off x="4924426" y="4610258"/>
            <a:ext cx="4038600" cy="1095217"/>
          </a:xfrm>
          <a:prstGeom prst="accentBorderCallout1">
            <a:avLst>
              <a:gd name="adj1" fmla="val 49241"/>
              <a:gd name="adj2" fmla="val -3144"/>
              <a:gd name="adj3" fmla="val 48107"/>
              <a:gd name="adj4" fmla="val -22007"/>
            </a:avLst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defRPr/>
            </a:pPr>
            <a:r>
              <a:rPr lang="es-ES" sz="1300" b="1" dirty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Control Eficiente de la Red de Alta</a:t>
            </a:r>
          </a:p>
          <a:p>
            <a:pPr marL="171450" indent="-171450" algn="just">
              <a:buFontTx/>
              <a:buChar char="-"/>
              <a:defRPr/>
            </a:pPr>
            <a:r>
              <a:rPr lang="es-ES_tradnl" sz="1300" dirty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Gestión eficiente de las balsas de Riego en base a la demanda prevista</a:t>
            </a:r>
          </a:p>
          <a:p>
            <a:pPr marL="171450" indent="-171450" algn="just">
              <a:buFontTx/>
              <a:buChar char="-"/>
              <a:defRPr/>
            </a:pPr>
            <a:r>
              <a:rPr lang="es-ES_tradnl" sz="1300" dirty="0">
                <a:solidFill>
                  <a:srgbClr val="030F40"/>
                </a:solidFill>
                <a:latin typeface="Calibri" panose="020F0502020204030204" pitchFamily="34" charset="0"/>
                <a:cs typeface="Calibri" pitchFamily="34" charset="0"/>
              </a:rPr>
              <a:t>Supervisión y control de los elementos del bombeo para hacer una gestión más eficiente </a:t>
            </a:r>
          </a:p>
        </p:txBody>
      </p:sp>
      <p:sp>
        <p:nvSpPr>
          <p:cNvPr id="73" name="Espace réservé du texte 3"/>
          <p:cNvSpPr txBox="1">
            <a:spLocks/>
          </p:cNvSpPr>
          <p:nvPr/>
        </p:nvSpPr>
        <p:spPr bwMode="gray">
          <a:xfrm>
            <a:off x="358775" y="403200"/>
            <a:ext cx="8500553" cy="703757"/>
          </a:xfrm>
          <a:prstGeom prst="rect">
            <a:avLst/>
          </a:prstGeom>
        </p:spPr>
        <p:txBody>
          <a:bodyPr/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GB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El </a:t>
            </a:r>
            <a:r>
              <a:rPr lang="es-ES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mercado</a:t>
            </a:r>
            <a:r>
              <a:rPr lang="es-ES" sz="250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, el cultivo y las necesidades de agua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</a:pPr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Control</a:t>
            </a:r>
            <a:r>
              <a:rPr lang="es-ES" sz="2000" dirty="0">
                <a:solidFill>
                  <a:srgbClr val="BFBFBF"/>
                </a:solidFill>
                <a:ea typeface="ＭＳ Ｐゴシック"/>
              </a:rPr>
              <a:t>, Monitorización y Gestión de </a:t>
            </a:r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redes </a:t>
            </a:r>
            <a:r>
              <a:rPr lang="es-ES" sz="2000" dirty="0">
                <a:solidFill>
                  <a:srgbClr val="BFBFBF"/>
                </a:solidFill>
                <a:ea typeface="ＭＳ Ｐゴシック"/>
              </a:rPr>
              <a:t>de Riego</a:t>
            </a:r>
            <a:endParaRPr lang="en-GB" sz="2000" dirty="0">
              <a:solidFill>
                <a:srgbClr val="BFBFBF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557184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a 8"/>
          <p:cNvGraphicFramePr/>
          <p:nvPr>
            <p:extLst>
              <p:ext uri="{D42A27DB-BD31-4B8C-83A1-F6EECF244321}">
                <p14:modId xmlns:p14="http://schemas.microsoft.com/office/powerpoint/2010/main" val="4173023054"/>
              </p:ext>
            </p:extLst>
          </p:nvPr>
        </p:nvGraphicFramePr>
        <p:xfrm>
          <a:off x="1910178" y="1573080"/>
          <a:ext cx="6096000" cy="4626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2614196" y="1038225"/>
            <a:ext cx="5671722" cy="5715000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5" name="Espace réservé du texte 3"/>
          <p:cNvSpPr txBox="1">
            <a:spLocks/>
          </p:cNvSpPr>
          <p:nvPr/>
        </p:nvSpPr>
        <p:spPr bwMode="gray">
          <a:xfrm>
            <a:off x="358775" y="403200"/>
            <a:ext cx="8500553" cy="703757"/>
          </a:xfrm>
          <a:prstGeom prst="rect">
            <a:avLst/>
          </a:prstGeom>
        </p:spPr>
        <p:txBody>
          <a:bodyPr/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GB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El </a:t>
            </a:r>
            <a:r>
              <a:rPr lang="es-ES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mercado</a:t>
            </a:r>
            <a:r>
              <a:rPr lang="es-ES" sz="250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, el cultivo y las necesidades de agua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</a:pPr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Gestión integral de comunidades de regantes</a:t>
            </a:r>
            <a:endParaRPr lang="en-GB" sz="2000" dirty="0">
              <a:solidFill>
                <a:srgbClr val="BFBFBF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04159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contenido 2"/>
          <p:cNvSpPr txBox="1">
            <a:spLocks/>
          </p:cNvSpPr>
          <p:nvPr/>
        </p:nvSpPr>
        <p:spPr bwMode="gray">
          <a:xfrm>
            <a:off x="543769" y="1466461"/>
            <a:ext cx="8315559" cy="3763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60000"/>
              </a:lnSpc>
            </a:pPr>
            <a:r>
              <a:rPr lang="es-ES" sz="1800" kern="0" dirty="0" smtClean="0">
                <a:latin typeface="Calibri" panose="020F0502020204030204" pitchFamily="34" charset="0"/>
              </a:rPr>
              <a:t>Modernización Infraestructuras hidráulicas</a:t>
            </a:r>
          </a:p>
          <a:p>
            <a:pPr lvl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s-ES" sz="1800" kern="0" dirty="0" smtClean="0">
                <a:latin typeface="Calibri" panose="020F0502020204030204" pitchFamily="34" charset="0"/>
              </a:rPr>
              <a:t>Estudios y </a:t>
            </a:r>
            <a:r>
              <a:rPr lang="es-ES" sz="1800" kern="0" dirty="0">
                <a:latin typeface="Calibri" panose="020F0502020204030204" pitchFamily="34" charset="0"/>
              </a:rPr>
              <a:t>Asistencia técnica:  </a:t>
            </a:r>
            <a:r>
              <a:rPr lang="es-ES" sz="1800" kern="0" dirty="0" smtClean="0">
                <a:latin typeface="Calibri" panose="020F0502020204030204" pitchFamily="34" charset="0"/>
              </a:rPr>
              <a:t>Captación</a:t>
            </a:r>
            <a:r>
              <a:rPr lang="es-ES" sz="1800" kern="0" dirty="0">
                <a:latin typeface="Calibri" panose="020F0502020204030204" pitchFamily="34" charset="0"/>
              </a:rPr>
              <a:t>, </a:t>
            </a:r>
            <a:r>
              <a:rPr lang="es-ES" sz="1800" kern="0" dirty="0" smtClean="0">
                <a:latin typeface="Calibri" panose="020F0502020204030204" pitchFamily="34" charset="0"/>
              </a:rPr>
              <a:t>Impulsión</a:t>
            </a:r>
            <a:r>
              <a:rPr lang="es-ES" sz="1800" kern="0" dirty="0">
                <a:latin typeface="Calibri" panose="020F0502020204030204" pitchFamily="34" charset="0"/>
              </a:rPr>
              <a:t>, F</a:t>
            </a:r>
            <a:r>
              <a:rPr lang="es-ES" sz="1800" kern="0" dirty="0" smtClean="0">
                <a:latin typeface="Calibri" panose="020F0502020204030204" pitchFamily="34" charset="0"/>
              </a:rPr>
              <a:t>iltración, Balsas</a:t>
            </a:r>
            <a:r>
              <a:rPr lang="es-ES" sz="1800" kern="0" dirty="0">
                <a:latin typeface="Calibri" panose="020F0502020204030204" pitchFamily="34" charset="0"/>
              </a:rPr>
              <a:t>, </a:t>
            </a:r>
            <a:r>
              <a:rPr lang="es-ES" sz="1800" kern="0" dirty="0" smtClean="0">
                <a:latin typeface="Calibri" panose="020F0502020204030204" pitchFamily="34" charset="0"/>
              </a:rPr>
              <a:t>Depósitos</a:t>
            </a:r>
            <a:r>
              <a:rPr lang="es-ES" sz="1800" kern="0" dirty="0">
                <a:latin typeface="Calibri" panose="020F0502020204030204" pitchFamily="34" charset="0"/>
              </a:rPr>
              <a:t>, </a:t>
            </a:r>
            <a:r>
              <a:rPr lang="es-ES" sz="1800" kern="0" dirty="0" smtClean="0">
                <a:latin typeface="Calibri" panose="020F0502020204030204" pitchFamily="34" charset="0"/>
              </a:rPr>
              <a:t>Redes</a:t>
            </a:r>
            <a:r>
              <a:rPr lang="es-ES" sz="1800" kern="0" dirty="0">
                <a:latin typeface="Calibri" panose="020F0502020204030204" pitchFamily="34" charset="0"/>
              </a:rPr>
              <a:t>, </a:t>
            </a:r>
            <a:r>
              <a:rPr lang="es-ES" sz="1800" kern="0" dirty="0" smtClean="0">
                <a:latin typeface="Calibri" panose="020F0502020204030204" pitchFamily="34" charset="0"/>
              </a:rPr>
              <a:t>Electrificación, Telecontrol…</a:t>
            </a:r>
          </a:p>
          <a:p>
            <a:pPr lvl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s-ES" sz="1800" kern="0" dirty="0" smtClean="0">
                <a:latin typeface="Calibri" panose="020F0502020204030204" pitchFamily="34" charset="0"/>
              </a:rPr>
              <a:t>Ejecución integral del proyecto + Operación y Mantenimiento </a:t>
            </a:r>
          </a:p>
          <a:p>
            <a:pPr marL="457200" lvl="1" indent="0">
              <a:lnSpc>
                <a:spcPct val="160000"/>
              </a:lnSpc>
            </a:pPr>
            <a:endParaRPr lang="es-ES" sz="1800" kern="0" dirty="0">
              <a:latin typeface="Calibri" panose="020F0502020204030204" pitchFamily="34" charset="0"/>
            </a:endParaRPr>
          </a:p>
        </p:txBody>
      </p:sp>
      <p:sp>
        <p:nvSpPr>
          <p:cNvPr id="4" name="Marcador de contenido 2"/>
          <p:cNvSpPr txBox="1">
            <a:spLocks/>
          </p:cNvSpPr>
          <p:nvPr/>
        </p:nvSpPr>
        <p:spPr bwMode="gray">
          <a:xfrm>
            <a:off x="543768" y="4185962"/>
            <a:ext cx="8315560" cy="180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60000"/>
              </a:lnSpc>
            </a:pPr>
            <a:r>
              <a:rPr lang="es-ES" sz="1800" kern="0" dirty="0" smtClean="0">
                <a:latin typeface="Calibri" panose="020F0502020204030204" pitchFamily="34" charset="0"/>
              </a:rPr>
              <a:t>Obras de Amueblamiento de Parcela. </a:t>
            </a:r>
          </a:p>
          <a:p>
            <a:pPr lvl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s-ES" sz="1800" kern="0" dirty="0" smtClean="0">
                <a:latin typeface="Calibri" panose="020F0502020204030204" pitchFamily="34" charset="0"/>
              </a:rPr>
              <a:t>Diseño Agronómico e Hidráulico. Fertirrigación, Automatización, Grupos de presión, etc…</a:t>
            </a:r>
          </a:p>
          <a:p>
            <a:pPr lvl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s-ES" sz="1800" kern="0" dirty="0" smtClean="0">
                <a:latin typeface="Calibri" panose="020F0502020204030204" pitchFamily="34" charset="0"/>
              </a:rPr>
              <a:t>Suministro e Instalación de tuberías y equipos hidráulicos</a:t>
            </a:r>
            <a:endParaRPr lang="es-ES" sz="1800" kern="0" dirty="0">
              <a:latin typeface="Calibri" panose="020F0502020204030204" pitchFamily="34" charset="0"/>
            </a:endParaRPr>
          </a:p>
          <a:p>
            <a:pPr marL="457200" lvl="1" indent="0">
              <a:lnSpc>
                <a:spcPct val="160000"/>
              </a:lnSpc>
            </a:pPr>
            <a:endParaRPr lang="es-ES" sz="1800" kern="0" dirty="0">
              <a:latin typeface="Calibri" panose="020F0502020204030204" pitchFamily="34" charset="0"/>
            </a:endParaRPr>
          </a:p>
        </p:txBody>
      </p:sp>
      <p:sp>
        <p:nvSpPr>
          <p:cNvPr id="2" name="Flecha abajo 1"/>
          <p:cNvSpPr/>
          <p:nvPr/>
        </p:nvSpPr>
        <p:spPr>
          <a:xfrm>
            <a:off x="4090738" y="3257367"/>
            <a:ext cx="389764" cy="246048"/>
          </a:xfrm>
          <a:prstGeom prst="downArrow">
            <a:avLst/>
          </a:prstGeom>
          <a:solidFill>
            <a:srgbClr val="030F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dirty="0">
              <a:latin typeface="Calibri" panose="020F0502020204030204" pitchFamily="34" charset="0"/>
            </a:endParaRPr>
          </a:p>
        </p:txBody>
      </p:sp>
      <p:sp>
        <p:nvSpPr>
          <p:cNvPr id="3" name="Rectángulo redondeado 2"/>
          <p:cNvSpPr/>
          <p:nvPr/>
        </p:nvSpPr>
        <p:spPr>
          <a:xfrm>
            <a:off x="3294391" y="3537694"/>
            <a:ext cx="1982459" cy="386606"/>
          </a:xfrm>
          <a:prstGeom prst="roundRect">
            <a:avLst/>
          </a:prstGeom>
          <a:solidFill>
            <a:srgbClr val="030F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800" dirty="0" smtClean="0">
                <a:latin typeface="Calibri" panose="020F0502020204030204" pitchFamily="34" charset="0"/>
              </a:rPr>
              <a:t>Modelo BOT</a:t>
            </a:r>
            <a:endParaRPr lang="es-ES" sz="1800" dirty="0">
              <a:latin typeface="Calibri" panose="020F0502020204030204" pitchFamily="34" charset="0"/>
            </a:endParaRPr>
          </a:p>
        </p:txBody>
      </p:sp>
      <p:sp>
        <p:nvSpPr>
          <p:cNvPr id="8" name="Espace réservé du texte 3"/>
          <p:cNvSpPr txBox="1">
            <a:spLocks/>
          </p:cNvSpPr>
          <p:nvPr/>
        </p:nvSpPr>
        <p:spPr bwMode="gray">
          <a:xfrm>
            <a:off x="358775" y="403200"/>
            <a:ext cx="8500553" cy="703757"/>
          </a:xfrm>
          <a:prstGeom prst="rect">
            <a:avLst/>
          </a:prstGeom>
        </p:spPr>
        <p:txBody>
          <a:bodyPr/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GB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El </a:t>
            </a:r>
            <a:r>
              <a:rPr lang="es-ES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mercado</a:t>
            </a:r>
            <a:r>
              <a:rPr lang="es-ES" sz="250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, el cultivo y las necesidades de agua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</a:pPr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Infraestructuras y equipos hidráulicos</a:t>
            </a:r>
            <a:endParaRPr lang="en-GB" sz="2000" dirty="0">
              <a:solidFill>
                <a:srgbClr val="BFBFBF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75845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3"/>
          <p:cNvSpPr txBox="1">
            <a:spLocks/>
          </p:cNvSpPr>
          <p:nvPr/>
        </p:nvSpPr>
        <p:spPr bwMode="gray">
          <a:xfrm>
            <a:off x="358775" y="403200"/>
            <a:ext cx="8500553" cy="703757"/>
          </a:xfrm>
          <a:prstGeom prst="rect">
            <a:avLst/>
          </a:prstGeom>
        </p:spPr>
        <p:txBody>
          <a:bodyPr/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GB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El </a:t>
            </a:r>
            <a:r>
              <a:rPr lang="es-ES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mercado</a:t>
            </a:r>
            <a:r>
              <a:rPr lang="es-ES" sz="250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, el cultivo y las necesidades de agua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</a:pPr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Digitalización </a:t>
            </a:r>
            <a:r>
              <a:rPr lang="es-ES" sz="2000" dirty="0">
                <a:solidFill>
                  <a:srgbClr val="BFBFBF"/>
                </a:solidFill>
                <a:ea typeface="ＭＳ Ｐゴシック"/>
              </a:rPr>
              <a:t>de los procesos del agua para mejorar la eficiencia de los recursos</a:t>
            </a:r>
            <a:endParaRPr lang="en-GB" sz="2000" dirty="0">
              <a:solidFill>
                <a:srgbClr val="BFBFBF"/>
              </a:solidFill>
              <a:ea typeface="ＭＳ Ｐゴシック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543" y="1680517"/>
            <a:ext cx="9148543" cy="4454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143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/>
          <a:srcRect t="3985" b="254"/>
          <a:stretch/>
        </p:blipFill>
        <p:spPr>
          <a:xfrm>
            <a:off x="0" y="-23091"/>
            <a:ext cx="9144000" cy="6881091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4"/>
          <a:stretch/>
        </p:blipFill>
        <p:spPr>
          <a:xfrm rot="10800000">
            <a:off x="4747369" y="-461729"/>
            <a:ext cx="4396631" cy="7347663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0" y="-29916"/>
            <a:ext cx="9144000" cy="6887915"/>
          </a:xfrm>
          <a:prstGeom prst="rect">
            <a:avLst/>
          </a:prstGeom>
          <a:solidFill>
            <a:srgbClr val="030F40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10" name="Imag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199" y="5500812"/>
            <a:ext cx="3182577" cy="1664677"/>
          </a:xfrm>
          <a:prstGeom prst="rect">
            <a:avLst/>
          </a:prstGeom>
        </p:spPr>
      </p:pic>
      <p:sp>
        <p:nvSpPr>
          <p:cNvPr id="11" name="Rectángulo 10"/>
          <p:cNvSpPr/>
          <p:nvPr/>
        </p:nvSpPr>
        <p:spPr>
          <a:xfrm>
            <a:off x="4118919" y="-16662"/>
            <a:ext cx="5025081" cy="542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5200"/>
              </a:lnSpc>
            </a:pPr>
            <a:r>
              <a:rPr lang="es-ES" sz="4800" dirty="0" smtClean="0">
                <a:solidFill>
                  <a:schemeClr val="bg1"/>
                </a:solidFill>
                <a:latin typeface="DINPro-CondBold" panose="020B0806020101010102" pitchFamily="34" charset="0"/>
                <a:cs typeface="DINPro-CondBold" panose="020B0806020101010102" pitchFamily="34" charset="0"/>
              </a:rPr>
              <a:t>Apostamos por la gestión inteligente de la agricultura</a:t>
            </a:r>
          </a:p>
          <a:p>
            <a:pPr>
              <a:lnSpc>
                <a:spcPts val="5200"/>
              </a:lnSpc>
            </a:pPr>
            <a:r>
              <a:rPr lang="es-ES" sz="4800" dirty="0">
                <a:solidFill>
                  <a:srgbClr val="AADC14"/>
                </a:solidFill>
                <a:latin typeface="DINPro-CondBold" panose="020B0806020101010102" pitchFamily="34" charset="0"/>
                <a:cs typeface="DINPro-CondBold" panose="020B0806020101010102" pitchFamily="34" charset="0"/>
              </a:rPr>
              <a:t>c</a:t>
            </a:r>
            <a:r>
              <a:rPr lang="es-ES" sz="4800" dirty="0" smtClean="0">
                <a:solidFill>
                  <a:srgbClr val="AADC14"/>
                </a:solidFill>
                <a:latin typeface="DINPro-CondBold" panose="020B0806020101010102" pitchFamily="34" charset="0"/>
                <a:cs typeface="DINPro-CondBold" panose="020B0806020101010102" pitchFamily="34" charset="0"/>
              </a:rPr>
              <a:t>on el objetivo de producir más, mejor, con menor coste y menor impacto ambiental.</a:t>
            </a:r>
            <a:endParaRPr lang="es-ES" sz="4800" dirty="0">
              <a:solidFill>
                <a:srgbClr val="AADC14"/>
              </a:solidFill>
              <a:latin typeface="DINPro-CondBold" panose="020B0806020101010102" pitchFamily="34" charset="0"/>
              <a:cs typeface="DINPro-CondBold" panose="020B0806020101010102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5485626" y="5286127"/>
            <a:ext cx="365837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sz="1600" dirty="0">
                <a:solidFill>
                  <a:schemeClr val="bg1"/>
                </a:solidFill>
                <a:latin typeface="DINPro-Bold" panose="020B0804020101020102" pitchFamily="34" charset="0"/>
                <a:cs typeface="DINPro-Bold" panose="020B0804020101020102" pitchFamily="34" charset="0"/>
              </a:rPr>
              <a:t>a</a:t>
            </a:r>
            <a:r>
              <a:rPr lang="es-ES" sz="1600" dirty="0" smtClean="0">
                <a:solidFill>
                  <a:schemeClr val="bg1"/>
                </a:solidFill>
                <a:latin typeface="DINPro-Bold" panose="020B0804020101020102" pitchFamily="34" charset="0"/>
                <a:cs typeface="DINPro-Bold" panose="020B0804020101020102" pitchFamily="34" charset="0"/>
              </a:rPr>
              <a:t>ntoni.diaz@suez.com</a:t>
            </a:r>
          </a:p>
          <a:p>
            <a:pPr algn="r"/>
            <a:r>
              <a:rPr lang="es-ES" sz="1600" dirty="0" smtClean="0">
                <a:solidFill>
                  <a:schemeClr val="bg1"/>
                </a:solidFill>
                <a:latin typeface="DINPro-Bold" panose="020B0804020101020102" pitchFamily="34" charset="0"/>
                <a:cs typeface="DINPro-Bold" panose="020B0804020101020102" pitchFamily="34" charset="0"/>
              </a:rPr>
              <a:t>juanmanuel.vazquez@suez.com</a:t>
            </a:r>
            <a:endParaRPr lang="es-ES" sz="1600" dirty="0">
              <a:solidFill>
                <a:schemeClr val="bg1"/>
              </a:solidFill>
              <a:latin typeface="DINPro-Bold" panose="020B0804020101020102" pitchFamily="34" charset="0"/>
              <a:cs typeface="DINPro-Bold" panose="020B08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724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0" name="111 Conector recto"/>
          <p:cNvCxnSpPr>
            <a:endCxn id="34" idx="6"/>
          </p:cNvCxnSpPr>
          <p:nvPr/>
        </p:nvCxnSpPr>
        <p:spPr>
          <a:xfrm flipH="1" flipV="1">
            <a:off x="6323352" y="2716438"/>
            <a:ext cx="1241180" cy="63118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77 Conector recto"/>
          <p:cNvCxnSpPr/>
          <p:nvPr/>
        </p:nvCxnSpPr>
        <p:spPr>
          <a:xfrm flipH="1" flipV="1">
            <a:off x="6265296" y="2601089"/>
            <a:ext cx="1506442" cy="616371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3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8500553" cy="703757"/>
          </a:xfrm>
        </p:spPr>
        <p:txBody>
          <a:bodyPr/>
          <a:lstStyle/>
          <a:p>
            <a:r>
              <a:rPr lang="en-GB" dirty="0" smtClean="0">
                <a:ea typeface="ＭＳ Ｐゴシック"/>
                <a:cs typeface="ＭＳ Ｐゴシック"/>
              </a:rPr>
              <a:t>El </a:t>
            </a:r>
            <a:r>
              <a:rPr lang="es-ES" dirty="0">
                <a:ea typeface="ＭＳ Ｐゴシック"/>
                <a:cs typeface="ＭＳ Ｐゴシック"/>
              </a:rPr>
              <a:t>m</a:t>
            </a:r>
            <a:r>
              <a:rPr lang="es-ES" dirty="0" smtClean="0">
                <a:ea typeface="ＭＳ Ｐゴシック"/>
                <a:cs typeface="ＭＳ Ｐゴシック"/>
              </a:rPr>
              <a:t>ercado, el cultivo y las necesidades de agua</a:t>
            </a:r>
          </a:p>
          <a:p>
            <a:pPr marL="0" indent="0"/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La </a:t>
            </a:r>
            <a:r>
              <a:rPr lang="es-ES" sz="2000" dirty="0">
                <a:solidFill>
                  <a:srgbClr val="BFBFBF"/>
                </a:solidFill>
                <a:ea typeface="ＭＳ Ｐゴシック"/>
              </a:rPr>
              <a:t>demanda del consumo del agua para agricultura está entre el </a:t>
            </a:r>
            <a:endParaRPr lang="es-ES" sz="2000" dirty="0" smtClean="0">
              <a:solidFill>
                <a:srgbClr val="BFBFBF"/>
              </a:solidFill>
              <a:ea typeface="ＭＳ Ｐゴシック"/>
            </a:endParaRPr>
          </a:p>
          <a:p>
            <a:pPr marL="0" indent="0"/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70-80</a:t>
            </a:r>
            <a:r>
              <a:rPr lang="es-ES" sz="2000" dirty="0">
                <a:solidFill>
                  <a:srgbClr val="BFBFBF"/>
                </a:solidFill>
                <a:ea typeface="ＭＳ Ｐゴシック"/>
              </a:rPr>
              <a:t>% del volumen total</a:t>
            </a:r>
            <a:endParaRPr lang="ca-ES" sz="2000" dirty="0">
              <a:solidFill>
                <a:srgbClr val="BFBFBF"/>
              </a:solidFill>
              <a:ea typeface="ＭＳ Ｐゴシック"/>
            </a:endParaRPr>
          </a:p>
          <a:p>
            <a:pPr marL="0" indent="0"/>
            <a:endParaRPr lang="es-ES" sz="2000" dirty="0">
              <a:solidFill>
                <a:srgbClr val="BFBFBF"/>
              </a:solidFill>
              <a:ea typeface="ＭＳ Ｐゴシック"/>
            </a:endParaRPr>
          </a:p>
        </p:txBody>
      </p:sp>
      <p:sp>
        <p:nvSpPr>
          <p:cNvPr id="2" name="AutoShape 2" descr="https://aqualogy.my.salesforce.com/servlet/servlet.ChartServer?rsid=150760509183700&amp;s=3&amp;fs=12&amp;tfg=18&amp;tfs=-16777216&amp;explode=0&amp;c=donut&amp;cs=-1&amp;eh=no&amp;compo=yes&amp;fg=-16777216&amp;bg1=-1&amp;bg2=-1&amp;bgdir=2&amp;dl1=L%C3%ADnea+de+Servicio&amp;dl2=Segmento&amp;l=1&amp;sax=yes&amp;Yman=no&amp;nc=0&amp;sd=1&amp;scv=no&amp;sct=yes&amp;spt=no&amp;bd=yes&amp;cu=EUR&amp;ab=X&amp;u=0&amp;vt=0&amp;ab2=Y&amp;u2=-1&amp;vt2=3&amp;vl0=Suma+de+Importe+Neto&amp;spoc=no&amp;topn=no&amp;gm=0.0&amp;gc0=-1&amp;gm0=1.0&amp;gc1=-1&amp;gm1=2.0&amp;gc2=-1&amp;gm2=3.0&amp;sona=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cxnSp>
        <p:nvCxnSpPr>
          <p:cNvPr id="5" name="121 Conector recto"/>
          <p:cNvCxnSpPr/>
          <p:nvPr/>
        </p:nvCxnSpPr>
        <p:spPr>
          <a:xfrm flipH="1" flipV="1">
            <a:off x="2392950" y="2877840"/>
            <a:ext cx="1116406" cy="1174256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111 Conector recto"/>
          <p:cNvCxnSpPr>
            <a:stCxn id="25" idx="0"/>
          </p:cNvCxnSpPr>
          <p:nvPr/>
        </p:nvCxnSpPr>
        <p:spPr>
          <a:xfrm flipH="1" flipV="1">
            <a:off x="5865340" y="3089660"/>
            <a:ext cx="544439" cy="2221381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107 Conector recto"/>
          <p:cNvCxnSpPr/>
          <p:nvPr/>
        </p:nvCxnSpPr>
        <p:spPr>
          <a:xfrm>
            <a:off x="4527896" y="4456628"/>
            <a:ext cx="1377604" cy="1288212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104 Conector recto"/>
          <p:cNvCxnSpPr/>
          <p:nvPr/>
        </p:nvCxnSpPr>
        <p:spPr>
          <a:xfrm flipV="1">
            <a:off x="4320380" y="2939622"/>
            <a:ext cx="940646" cy="756817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89 Conector recto"/>
          <p:cNvCxnSpPr/>
          <p:nvPr/>
        </p:nvCxnSpPr>
        <p:spPr>
          <a:xfrm flipH="1">
            <a:off x="2341227" y="4622267"/>
            <a:ext cx="1081623" cy="337677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85 Conector recto"/>
          <p:cNvCxnSpPr>
            <a:endCxn id="30" idx="6"/>
          </p:cNvCxnSpPr>
          <p:nvPr/>
        </p:nvCxnSpPr>
        <p:spPr>
          <a:xfrm flipH="1">
            <a:off x="2507499" y="4632142"/>
            <a:ext cx="949983" cy="525846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82 Conector recto"/>
          <p:cNvCxnSpPr/>
          <p:nvPr/>
        </p:nvCxnSpPr>
        <p:spPr>
          <a:xfrm flipH="1" flipV="1">
            <a:off x="2598326" y="2939622"/>
            <a:ext cx="925239" cy="845484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77 Conector recto"/>
          <p:cNvCxnSpPr/>
          <p:nvPr/>
        </p:nvCxnSpPr>
        <p:spPr>
          <a:xfrm flipH="1" flipV="1">
            <a:off x="5946900" y="3115569"/>
            <a:ext cx="607240" cy="2261820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74 Conector recto"/>
          <p:cNvCxnSpPr>
            <a:endCxn id="25" idx="2"/>
          </p:cNvCxnSpPr>
          <p:nvPr/>
        </p:nvCxnSpPr>
        <p:spPr>
          <a:xfrm>
            <a:off x="4454647" y="4523351"/>
            <a:ext cx="1342579" cy="1385734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67 Conector recto"/>
          <p:cNvCxnSpPr/>
          <p:nvPr/>
        </p:nvCxnSpPr>
        <p:spPr>
          <a:xfrm flipV="1">
            <a:off x="4513625" y="2996967"/>
            <a:ext cx="805457" cy="936859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8 CuadroTexto"/>
          <p:cNvSpPr txBox="1"/>
          <p:nvPr/>
        </p:nvSpPr>
        <p:spPr>
          <a:xfrm>
            <a:off x="460375" y="5871098"/>
            <a:ext cx="24434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Cambio climático</a:t>
            </a:r>
            <a:endParaRPr lang="es-ES" sz="14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22" name="Picture 2" descr="http://www.madrimasd.org/blogs/universo/wp-content/blogs.dir/42/files/879/o_Hexagonal_Shaped_Salt_Crust%20Wikimedia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676" t="25769" r="28500" b="2771"/>
          <a:stretch/>
        </p:blipFill>
        <p:spPr bwMode="auto">
          <a:xfrm>
            <a:off x="1561754" y="1677250"/>
            <a:ext cx="1485393" cy="1426755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47 CuadroTexto"/>
          <p:cNvSpPr txBox="1"/>
          <p:nvPr/>
        </p:nvSpPr>
        <p:spPr>
          <a:xfrm>
            <a:off x="231860" y="2881949"/>
            <a:ext cx="23353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Escasez recursos. </a:t>
            </a:r>
          </a:p>
          <a:p>
            <a:r>
              <a:rPr lang="es-ES" sz="14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En </a:t>
            </a:r>
            <a:r>
              <a:rPr lang="es-ES" sz="14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2030 el 47% </a:t>
            </a:r>
            <a:r>
              <a:rPr lang="es-ES" sz="14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de la población vivirá en áreas de estrés hídrico.</a:t>
            </a:r>
            <a:endParaRPr lang="es-ES" sz="14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25" name="Picture 4" descr="http://www.issues.cc/uploads/overpopulation2-20110405-134739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94" t="10740" r="35661" b="35545"/>
          <a:stretch/>
        </p:blipFill>
        <p:spPr bwMode="auto">
          <a:xfrm>
            <a:off x="5797226" y="5311041"/>
            <a:ext cx="1225106" cy="1196088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49 CuadroTexto"/>
          <p:cNvSpPr txBox="1"/>
          <p:nvPr/>
        </p:nvSpPr>
        <p:spPr>
          <a:xfrm>
            <a:off x="3581251" y="5786856"/>
            <a:ext cx="212183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Aumento demográfico. </a:t>
            </a:r>
            <a:r>
              <a:rPr lang="es-ES" sz="14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En 2030 8.300 millones de personas </a:t>
            </a:r>
            <a:endParaRPr lang="es-ES" sz="14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29" name="Picture 2" descr="http://estaticos.ipmedios.com/media/1/6/636e654ed424510fb0b47ca687a8f726-original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558"/>
          <a:stretch/>
        </p:blipFill>
        <p:spPr bwMode="auto">
          <a:xfrm>
            <a:off x="3174486" y="3504179"/>
            <a:ext cx="1527426" cy="1537835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3948" y="4456628"/>
            <a:ext cx="1503551" cy="1402720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61 CuadroTexto"/>
          <p:cNvSpPr txBox="1"/>
          <p:nvPr/>
        </p:nvSpPr>
        <p:spPr>
          <a:xfrm>
            <a:off x="3898477" y="1313994"/>
            <a:ext cx="374105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4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Consumo creciente. </a:t>
            </a:r>
          </a:p>
          <a:p>
            <a:pPr algn="r"/>
            <a:r>
              <a:rPr lang="es-ES" sz="14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En 2030 consumiremos un 50% más de agua, un 50% más de alimentos y un 40% más de energía.</a:t>
            </a:r>
            <a:endParaRPr lang="es-ES" sz="14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34" name="Picture 4" descr="http://diariocorreo.pe/documents/10165/0/image_content_high_33442843_20121123134428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04" r="20227"/>
          <a:stretch/>
        </p:blipFill>
        <p:spPr bwMode="auto">
          <a:xfrm>
            <a:off x="5132463" y="2151981"/>
            <a:ext cx="1190889" cy="1128914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4102 Arco"/>
          <p:cNvSpPr/>
          <p:nvPr/>
        </p:nvSpPr>
        <p:spPr>
          <a:xfrm>
            <a:off x="3167799" y="3507615"/>
            <a:ext cx="1540800" cy="1537200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  <p:sp>
        <p:nvSpPr>
          <p:cNvPr id="36" name="130 Arco"/>
          <p:cNvSpPr/>
          <p:nvPr/>
        </p:nvSpPr>
        <p:spPr>
          <a:xfrm flipH="1">
            <a:off x="3182674" y="3507615"/>
            <a:ext cx="1540800" cy="1537200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  <p:sp>
        <p:nvSpPr>
          <p:cNvPr id="37" name="131 Arco"/>
          <p:cNvSpPr/>
          <p:nvPr/>
        </p:nvSpPr>
        <p:spPr>
          <a:xfrm>
            <a:off x="5110403" y="2139388"/>
            <a:ext cx="1212949" cy="1135232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  <p:sp>
        <p:nvSpPr>
          <p:cNvPr id="38" name="132 Arco"/>
          <p:cNvSpPr/>
          <p:nvPr/>
        </p:nvSpPr>
        <p:spPr>
          <a:xfrm flipH="1">
            <a:off x="5141533" y="2151981"/>
            <a:ext cx="1254942" cy="1128914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  <p:sp>
        <p:nvSpPr>
          <p:cNvPr id="39" name="133 Arco"/>
          <p:cNvSpPr/>
          <p:nvPr/>
        </p:nvSpPr>
        <p:spPr>
          <a:xfrm flipH="1">
            <a:off x="5786662" y="5311041"/>
            <a:ext cx="1355784" cy="1196088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  <p:sp>
        <p:nvSpPr>
          <p:cNvPr id="40" name="135 Arco"/>
          <p:cNvSpPr/>
          <p:nvPr/>
        </p:nvSpPr>
        <p:spPr>
          <a:xfrm>
            <a:off x="5786664" y="5310666"/>
            <a:ext cx="1235668" cy="1196088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  <p:sp>
        <p:nvSpPr>
          <p:cNvPr id="46" name="144 Arco"/>
          <p:cNvSpPr/>
          <p:nvPr/>
        </p:nvSpPr>
        <p:spPr>
          <a:xfrm flipH="1">
            <a:off x="986670" y="4456628"/>
            <a:ext cx="1534085" cy="1404465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  <p:sp>
        <p:nvSpPr>
          <p:cNvPr id="47" name="145 Arco"/>
          <p:cNvSpPr/>
          <p:nvPr/>
        </p:nvSpPr>
        <p:spPr>
          <a:xfrm flipH="1">
            <a:off x="1537406" y="1685919"/>
            <a:ext cx="1534085" cy="1399425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  <p:sp>
        <p:nvSpPr>
          <p:cNvPr id="48" name="146 Arco"/>
          <p:cNvSpPr/>
          <p:nvPr/>
        </p:nvSpPr>
        <p:spPr>
          <a:xfrm>
            <a:off x="1537408" y="1690235"/>
            <a:ext cx="1509740" cy="1399425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  <p:sp>
        <p:nvSpPr>
          <p:cNvPr id="68" name="146 Arco"/>
          <p:cNvSpPr/>
          <p:nvPr/>
        </p:nvSpPr>
        <p:spPr>
          <a:xfrm>
            <a:off x="980568" y="4453783"/>
            <a:ext cx="1534085" cy="1407310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  <p:sp>
        <p:nvSpPr>
          <p:cNvPr id="94" name="Rectángulo 93"/>
          <p:cNvSpPr/>
          <p:nvPr/>
        </p:nvSpPr>
        <p:spPr>
          <a:xfrm>
            <a:off x="6323352" y="4140927"/>
            <a:ext cx="287628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ES" sz="14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Nuevos cultivos.</a:t>
            </a:r>
          </a:p>
          <a:p>
            <a:pPr lvl="1"/>
            <a:r>
              <a:rPr lang="es-ES" sz="14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Sometidos </a:t>
            </a:r>
            <a:r>
              <a:rPr lang="es-ES" sz="14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a los cambios de tendencia de los mercados alimentarios (demanda)</a:t>
            </a:r>
          </a:p>
        </p:txBody>
      </p:sp>
      <p:pic>
        <p:nvPicPr>
          <p:cNvPr id="95" name="Picture 8" descr="Resultat d'imatges de cultiv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1362" y="3008605"/>
            <a:ext cx="1113647" cy="1124538"/>
          </a:xfrm>
          <a:prstGeom prst="ellipse">
            <a:avLst/>
          </a:prstGeom>
          <a:ln>
            <a:noFill/>
          </a:ln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131 Arco"/>
          <p:cNvSpPr/>
          <p:nvPr/>
        </p:nvSpPr>
        <p:spPr>
          <a:xfrm>
            <a:off x="7332060" y="2986761"/>
            <a:ext cx="1212949" cy="1135232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  <p:sp>
        <p:nvSpPr>
          <p:cNvPr id="99" name="132 Arco"/>
          <p:cNvSpPr/>
          <p:nvPr/>
        </p:nvSpPr>
        <p:spPr>
          <a:xfrm flipH="1">
            <a:off x="7412312" y="2990772"/>
            <a:ext cx="1155640" cy="1128914"/>
          </a:xfrm>
          <a:prstGeom prst="arc">
            <a:avLst>
              <a:gd name="adj1" fmla="val 16200000"/>
              <a:gd name="adj2" fmla="val 5480675"/>
            </a:avLst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30F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254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5"/>
          <p:cNvSpPr/>
          <p:nvPr/>
        </p:nvSpPr>
        <p:spPr>
          <a:xfrm>
            <a:off x="6151391" y="2903799"/>
            <a:ext cx="2589650" cy="28949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1800" dirty="0"/>
          </a:p>
        </p:txBody>
      </p:sp>
      <p:sp>
        <p:nvSpPr>
          <p:cNvPr id="16" name="Rectangle 15"/>
          <p:cNvSpPr/>
          <p:nvPr/>
        </p:nvSpPr>
        <p:spPr>
          <a:xfrm>
            <a:off x="439877" y="2948615"/>
            <a:ext cx="2589650" cy="28501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1800" dirty="0"/>
          </a:p>
        </p:txBody>
      </p:sp>
      <p:sp>
        <p:nvSpPr>
          <p:cNvPr id="3" name="Espace réservé du texte 3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403200"/>
            <a:ext cx="8500553" cy="703757"/>
          </a:xfrm>
        </p:spPr>
        <p:txBody>
          <a:bodyPr/>
          <a:lstStyle/>
          <a:p>
            <a:r>
              <a:rPr lang="es-ES" dirty="0" smtClean="0">
                <a:ea typeface="ＭＳ Ｐゴシック"/>
                <a:cs typeface="ＭＳ Ｐゴシック"/>
              </a:rPr>
              <a:t>El mercado, el cultivo y las necesidades de Agua</a:t>
            </a:r>
          </a:p>
          <a:p>
            <a:pPr marL="0" indent="0"/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Principales factores que afectan a las necesidades de agua</a:t>
            </a:r>
            <a:endParaRPr lang="es-ES" sz="2000" dirty="0">
              <a:solidFill>
                <a:srgbClr val="BFBFBF"/>
              </a:solidFill>
              <a:ea typeface="ＭＳ Ｐゴシック"/>
            </a:endParaRPr>
          </a:p>
        </p:txBody>
      </p:sp>
      <p:sp>
        <p:nvSpPr>
          <p:cNvPr id="2" name="AutoShape 2" descr="https://aqualogy.my.salesforce.com/servlet/servlet.ChartServer?rsid=150760509183700&amp;s=3&amp;fs=12&amp;tfg=18&amp;tfs=-16777216&amp;explode=0&amp;c=donut&amp;cs=-1&amp;eh=no&amp;compo=yes&amp;fg=-16777216&amp;bg1=-1&amp;bg2=-1&amp;bgdir=2&amp;dl1=L%C3%ADnea+de+Servicio&amp;dl2=Segmento&amp;l=1&amp;sax=yes&amp;Yman=no&amp;nc=0&amp;sd=1&amp;scv=no&amp;sct=yes&amp;spt=no&amp;bd=yes&amp;cu=EUR&amp;ab=X&amp;u=0&amp;vt=0&amp;ab2=Y&amp;u2=-1&amp;vt2=3&amp;vl0=Suma+de+Importe+Neto&amp;spoc=no&amp;topn=no&amp;gm=0.0&amp;gc0=-1&amp;gm0=1.0&amp;gc1=-1&amp;gm1=2.0&amp;gc2=-1&amp;gm2=3.0&amp;sona=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6" name="Rectangle 3"/>
          <p:cNvSpPr/>
          <p:nvPr/>
        </p:nvSpPr>
        <p:spPr>
          <a:xfrm>
            <a:off x="439877" y="2028950"/>
            <a:ext cx="2589650" cy="374667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dirty="0">
                <a:solidFill>
                  <a:schemeClr val="tx1"/>
                </a:solidFill>
              </a:rPr>
              <a:t>Cambio Climático</a:t>
            </a:r>
            <a:endParaRPr lang="ca-ES" sz="1600" dirty="0">
              <a:solidFill>
                <a:schemeClr val="tx1"/>
              </a:solidFill>
            </a:endParaRPr>
          </a:p>
        </p:txBody>
      </p:sp>
      <p:sp>
        <p:nvSpPr>
          <p:cNvPr id="7" name="Rectangle 4"/>
          <p:cNvSpPr/>
          <p:nvPr/>
        </p:nvSpPr>
        <p:spPr>
          <a:xfrm>
            <a:off x="6151391" y="2025090"/>
            <a:ext cx="2589650" cy="374667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dirty="0" smtClean="0">
                <a:solidFill>
                  <a:schemeClr val="tx1"/>
                </a:solidFill>
              </a:rPr>
              <a:t>Mercados </a:t>
            </a:r>
            <a:r>
              <a:rPr lang="es-ES" sz="1600" dirty="0">
                <a:solidFill>
                  <a:schemeClr val="tx1"/>
                </a:solidFill>
              </a:rPr>
              <a:t>Alimentarios</a:t>
            </a:r>
            <a:endParaRPr lang="ca-ES" sz="1600" dirty="0">
              <a:solidFill>
                <a:schemeClr val="tx1"/>
              </a:solidFill>
            </a:endParaRPr>
          </a:p>
        </p:txBody>
      </p:sp>
      <p:sp>
        <p:nvSpPr>
          <p:cNvPr id="9" name="Fletxa: dreta 6"/>
          <p:cNvSpPr/>
          <p:nvPr/>
        </p:nvSpPr>
        <p:spPr>
          <a:xfrm rot="10800000">
            <a:off x="5697243" y="1928545"/>
            <a:ext cx="373881" cy="567756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1800" dirty="0"/>
          </a:p>
        </p:txBody>
      </p:sp>
      <p:sp>
        <p:nvSpPr>
          <p:cNvPr id="10" name="Oval 7"/>
          <p:cNvSpPr/>
          <p:nvPr/>
        </p:nvSpPr>
        <p:spPr>
          <a:xfrm>
            <a:off x="3568161" y="1920955"/>
            <a:ext cx="2048816" cy="58293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>
                <a:solidFill>
                  <a:srgbClr val="030F40"/>
                </a:solidFill>
              </a:rPr>
              <a:t>Cambios necesidades hídricas</a:t>
            </a:r>
            <a:endParaRPr lang="ca-ES" sz="1400" b="1" dirty="0">
              <a:solidFill>
                <a:srgbClr val="030F40"/>
              </a:solidFill>
            </a:endParaRPr>
          </a:p>
        </p:txBody>
      </p:sp>
      <p:sp>
        <p:nvSpPr>
          <p:cNvPr id="11" name="Contenidor de contingut 9"/>
          <p:cNvSpPr txBox="1">
            <a:spLocks/>
          </p:cNvSpPr>
          <p:nvPr/>
        </p:nvSpPr>
        <p:spPr>
          <a:xfrm>
            <a:off x="482288" y="3158601"/>
            <a:ext cx="2547239" cy="264013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76213" indent="-176213">
              <a:buFont typeface="Arial" panose="020B0604020202020204" pitchFamily="34" charset="0"/>
              <a:buChar char="•"/>
            </a:pPr>
            <a:r>
              <a:rPr lang="es-ES" sz="1300" b="0" kern="0" dirty="0" smtClean="0"/>
              <a:t>Cambio en los Cultivos tradicionales (especies, variedades, etc.)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s-ES" sz="1300" b="0" kern="0" dirty="0" smtClean="0"/>
              <a:t>Cambio de las Zonas y áreas de cultivo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s-ES" sz="1300" b="0" kern="0" dirty="0" smtClean="0"/>
              <a:t>Cambios en el manejo del cultivo (nuevas tecnologías)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s-ES" sz="1300" b="0" kern="0" dirty="0" smtClean="0"/>
              <a:t>Cambios en los regímenes de lluvias </a:t>
            </a:r>
            <a:endParaRPr lang="ca-ES" sz="1300" b="0" kern="0" dirty="0"/>
          </a:p>
        </p:txBody>
      </p:sp>
      <p:sp>
        <p:nvSpPr>
          <p:cNvPr id="12" name="Contenidor de contingut 10"/>
          <p:cNvSpPr txBox="1">
            <a:spLocks/>
          </p:cNvSpPr>
          <p:nvPr/>
        </p:nvSpPr>
        <p:spPr>
          <a:xfrm>
            <a:off x="6151391" y="3158601"/>
            <a:ext cx="2589650" cy="2256656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fr-FR"/>
            </a:defPPr>
            <a:lvl1pPr marL="176213" indent="-176213" defTabSz="1258888" eaLnBrk="0" hangingPunct="0">
              <a:lnSpc>
                <a:spcPct val="12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 sz="1300" b="0" kern="0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defTabSz="1258888" eaLnBrk="0" hangingPunct="0">
              <a:lnSpc>
                <a:spcPct val="110000"/>
              </a:lnSpc>
              <a:defRPr sz="1500">
                <a:solidFill>
                  <a:srgbClr val="030F40"/>
                </a:solidFill>
                <a:latin typeface="+mn-lt"/>
                <a:ea typeface="ＭＳ Ｐゴシック" charset="0"/>
              </a:defRPr>
            </a:lvl2pPr>
            <a:lvl3pPr marL="215900" indent="-215900" defTabSz="1258888" eaLnBrk="0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</a:defRPr>
            </a:lvl3pPr>
            <a:lvl4pPr marL="215900" indent="-196850" defTabSz="1258888" eaLnBrk="0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</a:defRPr>
            </a:lvl4pPr>
            <a:lvl5pPr marL="431800" indent="-215900" defTabSz="1258888" eaLnBrk="0" hangingPunct="0">
              <a:lnSpc>
                <a:spcPct val="120000"/>
              </a:lnSpc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</a:defRPr>
            </a:lvl5pPr>
            <a:lvl6pPr marL="3692525" indent="-182563" defTabSz="12588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latin typeface="+mn-lt"/>
                <a:cs typeface="+mn-cs"/>
              </a:defRPr>
            </a:lvl6pPr>
            <a:lvl7pPr marL="4149725" indent="-182563" defTabSz="12588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latin typeface="+mn-lt"/>
                <a:cs typeface="+mn-cs"/>
              </a:defRPr>
            </a:lvl7pPr>
            <a:lvl8pPr marL="4606925" indent="-182563" defTabSz="12588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latin typeface="+mn-lt"/>
                <a:cs typeface="+mn-cs"/>
              </a:defRPr>
            </a:lvl8pPr>
            <a:lvl9pPr marL="5064125" indent="-182563" defTabSz="1258888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latin typeface="+mn-lt"/>
                <a:cs typeface="+mn-cs"/>
              </a:defRPr>
            </a:lvl9pPr>
          </a:lstStyle>
          <a:p>
            <a:r>
              <a:rPr lang="es-ES" dirty="0"/>
              <a:t>Incremento producción</a:t>
            </a:r>
          </a:p>
          <a:p>
            <a:r>
              <a:rPr lang="es-ES" dirty="0"/>
              <a:t>Cambio de cultivos y variedades</a:t>
            </a:r>
          </a:p>
          <a:p>
            <a:r>
              <a:rPr lang="es-ES" dirty="0"/>
              <a:t>Nuevas exigencias medioambientales:</a:t>
            </a:r>
          </a:p>
          <a:p>
            <a:pPr lvl="1">
              <a:buFont typeface="Arial" panose="020B0604020202020204" pitchFamily="34" charset="0"/>
              <a:buChar char="–"/>
            </a:pPr>
            <a:r>
              <a:rPr lang="es-ES" sz="1200" dirty="0"/>
              <a:t>Huella de carbono</a:t>
            </a:r>
          </a:p>
          <a:p>
            <a:pPr lvl="1">
              <a:buFont typeface="Arial" panose="020B0604020202020204" pitchFamily="34" charset="0"/>
              <a:buChar char="–"/>
            </a:pPr>
            <a:r>
              <a:rPr lang="es-ES" sz="1200" dirty="0"/>
              <a:t>Huella hídrica</a:t>
            </a:r>
          </a:p>
          <a:p>
            <a:pPr lvl="1">
              <a:buFont typeface="Arial" panose="020B0604020202020204" pitchFamily="34" charset="0"/>
              <a:buChar char="–"/>
            </a:pPr>
            <a:r>
              <a:rPr lang="es-ES" sz="1200" dirty="0"/>
              <a:t>Residuos, etc. </a:t>
            </a:r>
          </a:p>
          <a:p>
            <a:pPr lvl="1"/>
            <a:endParaRPr lang="ca-ES" dirty="0"/>
          </a:p>
        </p:txBody>
      </p:sp>
      <p:sp>
        <p:nvSpPr>
          <p:cNvPr id="13" name="Fletxa: Cometes angulars 12"/>
          <p:cNvSpPr/>
          <p:nvPr/>
        </p:nvSpPr>
        <p:spPr>
          <a:xfrm rot="5400000">
            <a:off x="1419235" y="1959132"/>
            <a:ext cx="277238" cy="1390024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1800" dirty="0">
              <a:solidFill>
                <a:schemeClr val="tx1"/>
              </a:solidFill>
            </a:endParaRPr>
          </a:p>
        </p:txBody>
      </p:sp>
      <p:sp>
        <p:nvSpPr>
          <p:cNvPr id="14" name="Fletxa: Cometes angulars 13"/>
          <p:cNvSpPr/>
          <p:nvPr/>
        </p:nvSpPr>
        <p:spPr>
          <a:xfrm rot="5400000">
            <a:off x="7356557" y="1956766"/>
            <a:ext cx="277238" cy="1390024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1800" dirty="0">
              <a:solidFill>
                <a:schemeClr val="tx1"/>
              </a:solidFill>
            </a:endParaRPr>
          </a:p>
        </p:txBody>
      </p:sp>
      <p:sp>
        <p:nvSpPr>
          <p:cNvPr id="15" name="Fletxa: dreta 6"/>
          <p:cNvSpPr/>
          <p:nvPr/>
        </p:nvSpPr>
        <p:spPr>
          <a:xfrm rot="10800000" flipH="1">
            <a:off x="3114014" y="1928545"/>
            <a:ext cx="373881" cy="567756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1800" dirty="0"/>
          </a:p>
        </p:txBody>
      </p:sp>
    </p:spTree>
    <p:extLst>
      <p:ext uri="{BB962C8B-B14F-4D97-AF65-F5344CB8AC3E}">
        <p14:creationId xmlns:p14="http://schemas.microsoft.com/office/powerpoint/2010/main" val="1610807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idor de contingut 2"/>
          <p:cNvSpPr>
            <a:spLocks noGrp="1"/>
          </p:cNvSpPr>
          <p:nvPr>
            <p:ph idx="1"/>
          </p:nvPr>
        </p:nvSpPr>
        <p:spPr>
          <a:xfrm>
            <a:off x="546602" y="1885097"/>
            <a:ext cx="8312726" cy="3989230"/>
          </a:xfrm>
        </p:spPr>
        <p:txBody>
          <a:bodyPr>
            <a:noAutofit/>
          </a:bodyPr>
          <a:lstStyle/>
          <a:p>
            <a:r>
              <a:rPr lang="es-ES" b="1" u="sng" dirty="0" smtClean="0">
                <a:latin typeface="Calibri" panose="020F0502020204030204" pitchFamily="34" charset="0"/>
              </a:rPr>
              <a:t>La creciente </a:t>
            </a:r>
            <a:r>
              <a:rPr lang="es-ES" b="1" u="sng" dirty="0">
                <a:latin typeface="Calibri" panose="020F0502020204030204" pitchFamily="34" charset="0"/>
              </a:rPr>
              <a:t>demanda</a:t>
            </a:r>
            <a:r>
              <a:rPr lang="es-ES" b="1" dirty="0">
                <a:latin typeface="Calibri" panose="020F0502020204030204" pitchFamily="34" charset="0"/>
              </a:rPr>
              <a:t> </a:t>
            </a:r>
            <a:r>
              <a:rPr lang="es-ES" dirty="0">
                <a:latin typeface="Calibri" panose="020F0502020204030204" pitchFamily="34" charset="0"/>
              </a:rPr>
              <a:t>de los mercados alimentarios define cuales son las tendencias en la plantación/siembra de los cultivos/variedades </a:t>
            </a:r>
            <a:r>
              <a:rPr lang="es-ES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más rentables</a:t>
            </a:r>
            <a:r>
              <a:rPr lang="es-ES" dirty="0" smtClean="0">
                <a:latin typeface="Calibri" panose="020F0502020204030204" pitchFamily="34" charset="0"/>
              </a:rPr>
              <a:t>.</a:t>
            </a:r>
          </a:p>
          <a:p>
            <a:endParaRPr lang="es-ES" dirty="0">
              <a:latin typeface="Calibri" panose="020F0502020204030204" pitchFamily="34" charset="0"/>
            </a:endParaRPr>
          </a:p>
          <a:p>
            <a:r>
              <a:rPr lang="es-ES" dirty="0" smtClean="0">
                <a:latin typeface="Calibri" panose="020F0502020204030204" pitchFamily="34" charset="0"/>
              </a:rPr>
              <a:t>Ejemplo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600" dirty="0" smtClean="0">
                <a:latin typeface="Calibri" panose="020F0502020204030204" pitchFamily="34" charset="0"/>
              </a:rPr>
              <a:t>Caso </a:t>
            </a:r>
            <a:r>
              <a:rPr lang="es-ES" sz="1600" dirty="0">
                <a:latin typeface="Calibri" panose="020F0502020204030204" pitchFamily="34" charset="0"/>
              </a:rPr>
              <a:t>del arándano en Huelva (substitución del cultivo de fresa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600" dirty="0">
                <a:latin typeface="Calibri" panose="020F0502020204030204" pitchFamily="34" charset="0"/>
              </a:rPr>
              <a:t>Caso del almendro y el olivo </a:t>
            </a:r>
            <a:r>
              <a:rPr lang="es-ES" sz="1600" dirty="0" smtClean="0">
                <a:latin typeface="Calibri" panose="020F0502020204030204" pitchFamily="34" charset="0"/>
              </a:rPr>
              <a:t>(nuevas </a:t>
            </a:r>
            <a:r>
              <a:rPr lang="es-ES" sz="1600" dirty="0">
                <a:latin typeface="Calibri" panose="020F0502020204030204" pitchFamily="34" charset="0"/>
              </a:rPr>
              <a:t>plantaciones en intensivo y </a:t>
            </a:r>
            <a:r>
              <a:rPr lang="es-ES" sz="1600" dirty="0" smtClean="0">
                <a:latin typeface="Calibri" panose="020F0502020204030204" pitchFamily="34" charset="0"/>
              </a:rPr>
              <a:t>superintensivo).</a:t>
            </a:r>
            <a:endParaRPr lang="es-ES" sz="1600" dirty="0">
              <a:latin typeface="Calibri" panose="020F050202020403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600" dirty="0">
                <a:latin typeface="Calibri" panose="020F0502020204030204" pitchFamily="34" charset="0"/>
              </a:rPr>
              <a:t>El cultivo de la nuez en Chile y las nuevas plantaciones en Extremadura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600" dirty="0">
                <a:latin typeface="Calibri" panose="020F0502020204030204" pitchFamily="34" charset="0"/>
              </a:rPr>
              <a:t>La Manzana Pink Lady </a:t>
            </a:r>
            <a:r>
              <a:rPr lang="es-ES" sz="1600" dirty="0" smtClean="0">
                <a:latin typeface="Calibri" panose="020F0502020204030204" pitchFamily="34" charset="0"/>
              </a:rPr>
              <a:t>(producción </a:t>
            </a:r>
            <a:r>
              <a:rPr lang="es-ES" sz="1600" dirty="0">
                <a:latin typeface="Calibri" panose="020F0502020204030204" pitchFamily="34" charset="0"/>
              </a:rPr>
              <a:t>unida al marketing y a la </a:t>
            </a:r>
            <a:r>
              <a:rPr lang="es-ES" sz="1600" dirty="0" smtClean="0">
                <a:latin typeface="Calibri" panose="020F0502020204030204" pitchFamily="34" charset="0"/>
              </a:rPr>
              <a:t>comercialización)</a:t>
            </a:r>
            <a:endParaRPr lang="es-ES" sz="1600" dirty="0">
              <a:latin typeface="Calibri" panose="020F050202020403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600" dirty="0">
                <a:latin typeface="Calibri" panose="020F0502020204030204" pitchFamily="34" charset="0"/>
              </a:rPr>
              <a:t>Las nuevas variedades de sandias sin pepitas </a:t>
            </a:r>
            <a:r>
              <a:rPr lang="es-ES" sz="1600" dirty="0" smtClean="0">
                <a:latin typeface="Calibri" panose="020F0502020204030204" pitchFamily="34" charset="0"/>
              </a:rPr>
              <a:t>(Sandia </a:t>
            </a:r>
            <a:r>
              <a:rPr lang="es-ES" sz="1600" dirty="0">
                <a:latin typeface="Calibri" panose="020F0502020204030204" pitchFamily="34" charset="0"/>
              </a:rPr>
              <a:t>Fashion)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600" dirty="0">
                <a:latin typeface="Calibri" panose="020F0502020204030204" pitchFamily="34" charset="0"/>
              </a:rPr>
              <a:t>Introducción del cultivo de la guayaba en Huelva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600" dirty="0">
                <a:latin typeface="Calibri" panose="020F0502020204030204" pitchFamily="34" charset="0"/>
              </a:rPr>
              <a:t>El cultivo del kaki en Levant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1600" dirty="0">
                <a:latin typeface="Calibri" panose="020F0502020204030204" pitchFamily="34" charset="0"/>
              </a:rPr>
              <a:t>Etc.</a:t>
            </a:r>
          </a:p>
          <a:p>
            <a:pPr lvl="1"/>
            <a:endParaRPr lang="es-ES" sz="1800" dirty="0">
              <a:latin typeface="Calibri" panose="020F0502020204030204" pitchFamily="34" charset="0"/>
            </a:endParaRPr>
          </a:p>
          <a:p>
            <a:pPr lvl="1"/>
            <a:endParaRPr lang="ca-ES" sz="1800" dirty="0">
              <a:latin typeface="Calibri" panose="020F0502020204030204" pitchFamily="34" charset="0"/>
            </a:endParaRPr>
          </a:p>
        </p:txBody>
      </p:sp>
      <p:sp>
        <p:nvSpPr>
          <p:cNvPr id="4" name="Espace réservé du texte 3"/>
          <p:cNvSpPr txBox="1">
            <a:spLocks/>
          </p:cNvSpPr>
          <p:nvPr/>
        </p:nvSpPr>
        <p:spPr bwMode="gray">
          <a:xfrm>
            <a:off x="358775" y="403200"/>
            <a:ext cx="8500553" cy="703757"/>
          </a:xfrm>
          <a:prstGeom prst="rect">
            <a:avLst/>
          </a:prstGeom>
        </p:spPr>
        <p:txBody>
          <a:bodyPr/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GB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El </a:t>
            </a:r>
            <a:r>
              <a:rPr lang="es-ES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mercado</a:t>
            </a:r>
            <a:r>
              <a:rPr lang="es-ES" sz="250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, el cultivo y las necesidades de agua</a:t>
            </a:r>
          </a:p>
        </p:txBody>
      </p:sp>
    </p:spTree>
    <p:extLst>
      <p:ext uri="{BB962C8B-B14F-4D97-AF65-F5344CB8AC3E}">
        <p14:creationId xmlns:p14="http://schemas.microsoft.com/office/powerpoint/2010/main" val="2882279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3831689833"/>
              </p:ext>
            </p:extLst>
          </p:nvPr>
        </p:nvGraphicFramePr>
        <p:xfrm>
          <a:off x="855192" y="1587878"/>
          <a:ext cx="7291281" cy="4465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8" descr="Resultat d'imatges de cultivo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7406" y="4748189"/>
            <a:ext cx="818264" cy="826266"/>
          </a:xfrm>
          <a:prstGeom prst="ellipse">
            <a:avLst/>
          </a:prstGeom>
          <a:ln>
            <a:noFill/>
          </a:ln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Agrupa 27"/>
          <p:cNvGrpSpPr/>
          <p:nvPr/>
        </p:nvGrpSpPr>
        <p:grpSpPr>
          <a:xfrm>
            <a:off x="3334326" y="3147998"/>
            <a:ext cx="2272146" cy="1319667"/>
            <a:chOff x="1711585" y="2205158"/>
            <a:chExt cx="6199208" cy="3249042"/>
          </a:xfrm>
        </p:grpSpPr>
        <p:pic>
          <p:nvPicPr>
            <p:cNvPr id="29" name="Imagen 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711585" y="2205158"/>
              <a:ext cx="6199208" cy="3249042"/>
            </a:xfrm>
            <a:prstGeom prst="ellipse">
              <a:avLst/>
            </a:prstGeom>
            <a:ln>
              <a:noFill/>
            </a:ln>
            <a:effectLst>
              <a:softEdge rad="0"/>
            </a:effectLst>
          </p:spPr>
        </p:pic>
        <p:grpSp>
          <p:nvGrpSpPr>
            <p:cNvPr id="30" name="Grupo 6"/>
            <p:cNvGrpSpPr/>
            <p:nvPr/>
          </p:nvGrpSpPr>
          <p:grpSpPr>
            <a:xfrm>
              <a:off x="6411407" y="3722702"/>
              <a:ext cx="1499385" cy="454651"/>
              <a:chOff x="7702551" y="4812632"/>
              <a:chExt cx="1484516" cy="409798"/>
            </a:xfrm>
          </p:grpSpPr>
          <p:sp>
            <p:nvSpPr>
              <p:cNvPr id="31" name="Elipse 5"/>
              <p:cNvSpPr/>
              <p:nvPr/>
            </p:nvSpPr>
            <p:spPr>
              <a:xfrm>
                <a:off x="7931018" y="4916163"/>
                <a:ext cx="847803" cy="202735"/>
              </a:xfrm>
              <a:prstGeom prst="rect">
                <a:avLst/>
              </a:prstGeom>
              <a:solidFill>
                <a:srgbClr val="D1E6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00" dirty="0"/>
              </a:p>
            </p:txBody>
          </p:sp>
          <p:sp>
            <p:nvSpPr>
              <p:cNvPr id="32" name="CuadroTexto 4"/>
              <p:cNvSpPr txBox="1"/>
              <p:nvPr/>
            </p:nvSpPr>
            <p:spPr>
              <a:xfrm>
                <a:off x="7702551" y="4812632"/>
                <a:ext cx="1484516" cy="4097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600" b="1" dirty="0" smtClean="0">
                    <a:solidFill>
                      <a:srgbClr val="030F40"/>
                    </a:solidFill>
                  </a:rPr>
                  <a:t>Platform</a:t>
                </a:r>
                <a:endParaRPr lang="en-GB" sz="600" b="1" dirty="0">
                  <a:solidFill>
                    <a:srgbClr val="030F40"/>
                  </a:solidFill>
                </a:endParaRPr>
              </a:p>
            </p:txBody>
          </p:sp>
        </p:grpSp>
      </p:grpSp>
      <p:pic>
        <p:nvPicPr>
          <p:cNvPr id="9" name="Imatge 8"/>
          <p:cNvPicPr>
            <a:picLocks noChangeAspect="1"/>
          </p:cNvPicPr>
          <p:nvPr/>
        </p:nvPicPr>
        <p:blipFill>
          <a:blip r:embed="rId10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74473" y="1403927"/>
            <a:ext cx="467622" cy="467622"/>
          </a:xfrm>
          <a:prstGeom prst="rect">
            <a:avLst/>
          </a:prstGeom>
        </p:spPr>
      </p:pic>
      <p:pic>
        <p:nvPicPr>
          <p:cNvPr id="10" name="Imatge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17406" y="2660959"/>
            <a:ext cx="853061" cy="826266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11" name="Imatge 10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18034" y="2267461"/>
            <a:ext cx="704865" cy="557205"/>
          </a:xfrm>
          <a:prstGeom prst="rect">
            <a:avLst/>
          </a:prstGeom>
        </p:spPr>
      </p:pic>
      <p:pic>
        <p:nvPicPr>
          <p:cNvPr id="18" name="Imatge 1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960364" y="1094894"/>
            <a:ext cx="815025" cy="826266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0" name="Imatge 1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428453" y="4367003"/>
            <a:ext cx="827050" cy="822036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4" name="Imatge 3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446106" y="2325962"/>
            <a:ext cx="791744" cy="822036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35" name="Imatge 3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905785" y="5902784"/>
            <a:ext cx="869604" cy="826265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7" name="Espace réservé du texte 3"/>
          <p:cNvSpPr txBox="1">
            <a:spLocks/>
          </p:cNvSpPr>
          <p:nvPr/>
        </p:nvSpPr>
        <p:spPr bwMode="gray">
          <a:xfrm>
            <a:off x="358775" y="403200"/>
            <a:ext cx="8500553" cy="703757"/>
          </a:xfrm>
          <a:prstGeom prst="rect">
            <a:avLst/>
          </a:prstGeom>
        </p:spPr>
        <p:txBody>
          <a:bodyPr/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GB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El </a:t>
            </a:r>
            <a:r>
              <a:rPr lang="es-ES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mercado</a:t>
            </a:r>
            <a:r>
              <a:rPr lang="es-ES" sz="250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, el cultivo y las necesidades de agua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</a:pPr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Necesidad de soluciones integradas</a:t>
            </a:r>
            <a:endParaRPr lang="en-GB" sz="2000" dirty="0">
              <a:solidFill>
                <a:srgbClr val="BFBFBF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924866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3"/>
          <p:cNvSpPr txBox="1">
            <a:spLocks/>
          </p:cNvSpPr>
          <p:nvPr/>
        </p:nvSpPr>
        <p:spPr bwMode="gray">
          <a:xfrm>
            <a:off x="358775" y="403200"/>
            <a:ext cx="8500553" cy="703757"/>
          </a:xfrm>
          <a:prstGeom prst="rect">
            <a:avLst/>
          </a:prstGeom>
        </p:spPr>
        <p:txBody>
          <a:bodyPr/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GB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El </a:t>
            </a:r>
            <a:r>
              <a:rPr lang="es-ES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mercado</a:t>
            </a:r>
            <a:r>
              <a:rPr lang="es-ES" sz="250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, el cultivo y las necesidades de agua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</a:pPr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Tecnología y gestión de SUEZ para fomentar:</a:t>
            </a:r>
            <a:endParaRPr lang="en-GB" sz="2000" dirty="0">
              <a:solidFill>
                <a:srgbClr val="BFBFBF"/>
              </a:solidFill>
              <a:ea typeface="ＭＳ Ｐゴシック"/>
            </a:endParaRPr>
          </a:p>
        </p:txBody>
      </p:sp>
      <p:sp>
        <p:nvSpPr>
          <p:cNvPr id="21" name="Contenidor de contingut 2"/>
          <p:cNvSpPr>
            <a:spLocks noGrp="1"/>
          </p:cNvSpPr>
          <p:nvPr>
            <p:ph idx="1"/>
          </p:nvPr>
        </p:nvSpPr>
        <p:spPr>
          <a:xfrm>
            <a:off x="229466" y="2742481"/>
            <a:ext cx="6878704" cy="2235920"/>
          </a:xfrm>
        </p:spPr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s-ES" sz="2000" dirty="0">
                <a:latin typeface="Calibri" panose="020F0502020204030204" pitchFamily="34" charset="0"/>
              </a:rPr>
              <a:t>Ahorro de Agu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2000" dirty="0">
                <a:latin typeface="Calibri" panose="020F0502020204030204" pitchFamily="34" charset="0"/>
              </a:rPr>
              <a:t>Eficiencia Energétic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2000" dirty="0">
                <a:latin typeface="Calibri" panose="020F0502020204030204" pitchFamily="34" charset="0"/>
              </a:rPr>
              <a:t>Optimización de cost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2000" dirty="0" smtClean="0">
                <a:latin typeface="Calibri" panose="020F0502020204030204" pitchFamily="34" charset="0"/>
              </a:rPr>
              <a:t>Mejora en el </a:t>
            </a:r>
            <a:r>
              <a:rPr lang="es-ES" sz="2000" dirty="0">
                <a:latin typeface="Calibri" panose="020F0502020204030204" pitchFamily="34" charset="0"/>
              </a:rPr>
              <a:t>rendimiento del cultivo (Cantidad y Calidad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2000" dirty="0" smtClean="0">
                <a:latin typeface="Calibri" panose="020F0502020204030204" pitchFamily="34" charset="0"/>
              </a:rPr>
              <a:t>Ahorro </a:t>
            </a:r>
            <a:r>
              <a:rPr lang="es-ES" sz="2000" dirty="0">
                <a:latin typeface="Calibri" panose="020F0502020204030204" pitchFamily="34" charset="0"/>
              </a:rPr>
              <a:t>en Fertilizant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sz="2000" dirty="0" smtClean="0">
                <a:latin typeface="Calibri" panose="020F0502020204030204" pitchFamily="34" charset="0"/>
              </a:rPr>
              <a:t>Mejora </a:t>
            </a:r>
            <a:r>
              <a:rPr lang="es-ES" sz="2000" dirty="0">
                <a:latin typeface="Calibri" panose="020F0502020204030204" pitchFamily="34" charset="0"/>
              </a:rPr>
              <a:t>medioambiental</a:t>
            </a:r>
          </a:p>
          <a:p>
            <a:pPr>
              <a:buFont typeface="Arial" panose="020B0604020202020204" pitchFamily="34" charset="0"/>
              <a:buChar char="•"/>
            </a:pPr>
            <a:endParaRPr lang="es-ES" b="0" dirty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s-ES" b="0" dirty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ca-ES" b="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6343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357187" y="3918857"/>
            <a:ext cx="4033837" cy="490961"/>
          </a:xfrm>
        </p:spPr>
        <p:txBody>
          <a:bodyPr/>
          <a:lstStyle/>
          <a:p>
            <a:pPr marL="0" indent="0"/>
            <a:r>
              <a:rPr lang="es-ES" sz="1600" i="1" dirty="0" smtClean="0">
                <a:ea typeface="ＭＳ Ｐゴシック"/>
                <a:cs typeface="ＭＳ Ｐゴシック"/>
              </a:rPr>
              <a:t>Juan Manuel Vázquez Hermida</a:t>
            </a:r>
          </a:p>
          <a:p>
            <a:pPr defTabSz="268288"/>
            <a:r>
              <a:rPr lang="es-ES" sz="1600" i="1" dirty="0" smtClean="0">
                <a:ea typeface="ＭＳ Ｐゴシック"/>
                <a:cs typeface="ＭＳ Ｐゴシック"/>
              </a:rPr>
              <a:t>Gerente Área Levante Suez Agriculture S.L.</a:t>
            </a:r>
            <a:endParaRPr lang="es-ES" sz="1600" i="1" dirty="0">
              <a:ea typeface="ＭＳ Ｐゴシック"/>
              <a:cs typeface="ＭＳ Ｐゴシック"/>
            </a:endParaRPr>
          </a:p>
        </p:txBody>
      </p:sp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357188" y="2298020"/>
            <a:ext cx="7696921" cy="1620837"/>
          </a:xfrm>
        </p:spPr>
        <p:txBody>
          <a:bodyPr/>
          <a:lstStyle/>
          <a:p>
            <a:r>
              <a:rPr lang="en-GB" sz="4000" dirty="0" smtClean="0">
                <a:solidFill>
                  <a:srgbClr val="030F40"/>
                </a:solidFill>
                <a:ea typeface="ＭＳ Ｐゴシック"/>
                <a:cs typeface="ＭＳ Ｐゴシック"/>
              </a:rPr>
              <a:t>El </a:t>
            </a:r>
            <a:r>
              <a:rPr lang="es-ES" sz="4000" dirty="0">
                <a:solidFill>
                  <a:srgbClr val="030F40"/>
                </a:solidFill>
                <a:ea typeface="ＭＳ Ｐゴシック"/>
                <a:cs typeface="ＭＳ Ｐゴシック"/>
              </a:rPr>
              <a:t>mercado, el cultivo y las necesidades de agua</a:t>
            </a:r>
            <a:br>
              <a:rPr lang="es-ES" sz="4000" dirty="0">
                <a:solidFill>
                  <a:srgbClr val="030F40"/>
                </a:solidFill>
                <a:ea typeface="ＭＳ Ｐゴシック"/>
                <a:cs typeface="ＭＳ Ｐゴシック"/>
              </a:rPr>
            </a:br>
            <a:endParaRPr lang="en-GB" sz="4000" dirty="0">
              <a:solidFill>
                <a:srgbClr val="030F40"/>
              </a:solidFill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29961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38732"/>
            <a:ext cx="9144000" cy="4421605"/>
          </a:xfrm>
          <a:prstGeom prst="rect">
            <a:avLst/>
          </a:prstGeom>
        </p:spPr>
      </p:pic>
      <p:sp>
        <p:nvSpPr>
          <p:cNvPr id="6" name="Espace réservé du texte 3"/>
          <p:cNvSpPr txBox="1">
            <a:spLocks/>
          </p:cNvSpPr>
          <p:nvPr/>
        </p:nvSpPr>
        <p:spPr bwMode="gray">
          <a:xfrm>
            <a:off x="358775" y="403200"/>
            <a:ext cx="8500553" cy="703757"/>
          </a:xfrm>
          <a:prstGeom prst="rect">
            <a:avLst/>
          </a:prstGeom>
        </p:spPr>
        <p:txBody>
          <a:bodyPr/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GB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El </a:t>
            </a:r>
            <a:r>
              <a:rPr lang="es-ES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mercado</a:t>
            </a:r>
            <a:r>
              <a:rPr lang="es-ES" sz="250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, el cultivo y las necesidades de agua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</a:pPr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Medir - Analizar - Actuar</a:t>
            </a:r>
            <a:endParaRPr lang="en-GB" sz="2000" dirty="0">
              <a:solidFill>
                <a:srgbClr val="BFBFBF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700453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3"/>
          <p:cNvSpPr txBox="1">
            <a:spLocks/>
          </p:cNvSpPr>
          <p:nvPr/>
        </p:nvSpPr>
        <p:spPr bwMode="gray">
          <a:xfrm>
            <a:off x="358775" y="403200"/>
            <a:ext cx="8500553" cy="703757"/>
          </a:xfrm>
          <a:prstGeom prst="rect">
            <a:avLst/>
          </a:prstGeom>
        </p:spPr>
        <p:txBody>
          <a:bodyPr/>
          <a:lstStyle>
            <a:lvl1pPr marL="342900" indent="-342900"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rgbClr val="030F40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2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rgbClr val="AADC14"/>
              </a:buClr>
              <a:buSzPct val="150000"/>
              <a:buFont typeface="Wingdings" pitchFamily="2" charset="2"/>
              <a:buChar char="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AADC14"/>
              </a:buClr>
              <a:buFont typeface="Wingdings" pitchFamily="2" charset="2"/>
              <a:buChar char="l"/>
              <a:defRPr sz="1000">
                <a:solidFill>
                  <a:srgbClr val="030F40"/>
                </a:solidFill>
                <a:latin typeface="+mn-lt"/>
                <a:ea typeface="ＭＳ Ｐゴシック" charset="0"/>
                <a:cs typeface="ＭＳ Ｐゴシック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GB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El </a:t>
            </a:r>
            <a:r>
              <a:rPr lang="es-ES" sz="2500" dirty="0">
                <a:solidFill>
                  <a:schemeClr val="accent6"/>
                </a:solidFill>
                <a:ea typeface="ＭＳ Ｐゴシック"/>
                <a:cs typeface="ＭＳ Ｐゴシック"/>
              </a:rPr>
              <a:t>mercado</a:t>
            </a:r>
            <a:r>
              <a:rPr lang="es-ES" sz="2500" dirty="0" smtClean="0">
                <a:solidFill>
                  <a:schemeClr val="accent6"/>
                </a:solidFill>
                <a:ea typeface="ＭＳ Ｐゴシック"/>
                <a:cs typeface="ＭＳ Ｐゴシック"/>
              </a:rPr>
              <a:t>, el cultivo y las necesidades de agua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</a:pPr>
            <a:r>
              <a:rPr lang="es-ES" sz="2000" dirty="0" smtClean="0">
                <a:solidFill>
                  <a:srgbClr val="BFBFBF"/>
                </a:solidFill>
                <a:ea typeface="ＭＳ Ｐゴシック"/>
              </a:rPr>
              <a:t>Eficiencia energética y energías renovables </a:t>
            </a:r>
            <a:endParaRPr lang="en-GB" sz="2000" dirty="0">
              <a:solidFill>
                <a:srgbClr val="BFBFBF"/>
              </a:solidFill>
              <a:ea typeface="ＭＳ Ｐゴシック"/>
            </a:endParaRPr>
          </a:p>
        </p:txBody>
      </p:sp>
      <p:graphicFrame>
        <p:nvGraphicFramePr>
          <p:cNvPr id="6" name="Marcador de conteni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9999785"/>
              </p:ext>
            </p:extLst>
          </p:nvPr>
        </p:nvGraphicFramePr>
        <p:xfrm>
          <a:off x="-1144588" y="1627188"/>
          <a:ext cx="11269663" cy="42132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6" name="Imagen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6915" y="2520180"/>
            <a:ext cx="774259" cy="737680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/>
        </p:nvPicPr>
        <p:blipFill rotWithShape="1">
          <a:blip r:embed="rId9"/>
          <a:srcRect t="16637" r="76598" b="12057"/>
          <a:stretch/>
        </p:blipFill>
        <p:spPr>
          <a:xfrm>
            <a:off x="492720" y="3373217"/>
            <a:ext cx="827860" cy="722533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1" name="Imagen 20"/>
          <p:cNvPicPr>
            <a:picLocks noChangeAspect="1"/>
          </p:cNvPicPr>
          <p:nvPr/>
        </p:nvPicPr>
        <p:blipFill rotWithShape="1">
          <a:blip r:embed="rId9"/>
          <a:srcRect l="78942" t="11376" b="7252"/>
          <a:stretch/>
        </p:blipFill>
        <p:spPr>
          <a:xfrm>
            <a:off x="482409" y="5098651"/>
            <a:ext cx="765686" cy="741762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9"/>
          <a:srcRect l="53639" t="11918" r="25878" b="22805"/>
          <a:stretch/>
        </p:blipFill>
        <p:spPr>
          <a:xfrm>
            <a:off x="492719" y="1644441"/>
            <a:ext cx="807135" cy="738915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3" name="Imagen 2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5867" y="4243508"/>
            <a:ext cx="775307" cy="751323"/>
          </a:xfrm>
          <a:prstGeom prst="rect">
            <a:avLst/>
          </a:prstGeom>
        </p:spPr>
      </p:pic>
      <p:grpSp>
        <p:nvGrpSpPr>
          <p:cNvPr id="24" name="Grupo 23"/>
          <p:cNvGrpSpPr/>
          <p:nvPr/>
        </p:nvGrpSpPr>
        <p:grpSpPr>
          <a:xfrm>
            <a:off x="4480032" y="3519610"/>
            <a:ext cx="3838575" cy="474893"/>
            <a:chOff x="1653714" y="3668717"/>
            <a:chExt cx="5559541" cy="542664"/>
          </a:xfrm>
        </p:grpSpPr>
        <p:sp>
          <p:nvSpPr>
            <p:cNvPr id="25" name="Elipse 24"/>
            <p:cNvSpPr/>
            <p:nvPr/>
          </p:nvSpPr>
          <p:spPr>
            <a:xfrm rot="19917899">
              <a:off x="3086478" y="3668717"/>
              <a:ext cx="1307704" cy="542664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100" dirty="0"/>
            </a:p>
          </p:txBody>
        </p:sp>
        <p:sp>
          <p:nvSpPr>
            <p:cNvPr id="26" name="Elipse 25"/>
            <p:cNvSpPr/>
            <p:nvPr/>
          </p:nvSpPr>
          <p:spPr>
            <a:xfrm rot="19917899">
              <a:off x="1653714" y="3668717"/>
              <a:ext cx="1307704" cy="54266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100" dirty="0"/>
            </a:p>
          </p:txBody>
        </p:sp>
        <p:sp>
          <p:nvSpPr>
            <p:cNvPr id="27" name="Elipse 26"/>
            <p:cNvSpPr/>
            <p:nvPr/>
          </p:nvSpPr>
          <p:spPr>
            <a:xfrm rot="19917899">
              <a:off x="4486187" y="3668717"/>
              <a:ext cx="1307704" cy="542664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100" dirty="0"/>
            </a:p>
          </p:txBody>
        </p:sp>
        <p:sp>
          <p:nvSpPr>
            <p:cNvPr id="28" name="Elipse 27"/>
            <p:cNvSpPr/>
            <p:nvPr/>
          </p:nvSpPr>
          <p:spPr>
            <a:xfrm rot="19917899">
              <a:off x="5807010" y="3668717"/>
              <a:ext cx="1307704" cy="542664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100" dirty="0"/>
            </a:p>
          </p:txBody>
        </p:sp>
        <p:sp>
          <p:nvSpPr>
            <p:cNvPr id="29" name="CuadroTexto 28"/>
            <p:cNvSpPr txBox="1"/>
            <p:nvPr/>
          </p:nvSpPr>
          <p:spPr>
            <a:xfrm>
              <a:off x="1714062" y="3749254"/>
              <a:ext cx="1368000" cy="288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0" rIns="36000" bIns="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6"/>
                </a:buClr>
              </a:pPr>
              <a:r>
                <a:rPr lang="es-ES_tradnl" sz="1100" b="1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stes ↓</a:t>
              </a:r>
            </a:p>
          </p:txBody>
        </p:sp>
        <p:sp>
          <p:nvSpPr>
            <p:cNvPr id="30" name="Rectángulo 29"/>
            <p:cNvSpPr/>
            <p:nvPr/>
          </p:nvSpPr>
          <p:spPr>
            <a:xfrm>
              <a:off x="2864141" y="3736488"/>
              <a:ext cx="1783368" cy="310243"/>
            </a:xfrm>
            <a:prstGeom prst="rect">
              <a:avLst/>
            </a:prstGeom>
          </p:spPr>
          <p:txBody>
            <a:bodyPr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6"/>
                </a:buClr>
              </a:pPr>
              <a:r>
                <a:rPr lang="es-ES_tradnl" sz="1100" b="1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ntenimiento  ↓</a:t>
              </a:r>
              <a:endParaRPr lang="es-ES_tradnl" sz="11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5845255" y="3749254"/>
              <a:ext cx="1368000" cy="288000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6"/>
                </a:buClr>
              </a:pPr>
              <a:r>
                <a:rPr lang="es-ES_tradnl" sz="1100" b="1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iabilidad↑</a:t>
              </a:r>
              <a:endParaRPr lang="es-ES_tradnl" sz="11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CuadroTexto 31"/>
            <p:cNvSpPr txBox="1"/>
            <p:nvPr/>
          </p:nvSpPr>
          <p:spPr>
            <a:xfrm>
              <a:off x="4535945" y="3749254"/>
              <a:ext cx="1368000" cy="288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0" rIns="36000" bIns="0" rtlCol="0" anchor="ctr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6"/>
                </a:buClr>
              </a:pPr>
              <a:r>
                <a:rPr lang="es-ES_tradnl" sz="1100" b="1" dirty="0" smtClean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esgos ↓</a:t>
              </a:r>
            </a:p>
          </p:txBody>
        </p:sp>
      </p:grpSp>
      <p:sp>
        <p:nvSpPr>
          <p:cNvPr id="33" name="Rectángulo 32"/>
          <p:cNvSpPr/>
          <p:nvPr/>
        </p:nvSpPr>
        <p:spPr>
          <a:xfrm>
            <a:off x="1841646" y="3522815"/>
            <a:ext cx="25007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tabLst>
                <a:tab pos="2238375" algn="l"/>
                <a:tab pos="2695575" algn="l"/>
              </a:tabLst>
            </a:pPr>
            <a:r>
              <a:rPr lang="es-ES" sz="1600" b="1" dirty="0">
                <a:solidFill>
                  <a:srgbClr val="030F40"/>
                </a:solidFill>
                <a:latin typeface="Calibri" panose="020F0502020204030204" pitchFamily="34" charset="0"/>
              </a:rPr>
              <a:t>Optimización de bombeos  </a:t>
            </a:r>
          </a:p>
        </p:txBody>
      </p:sp>
    </p:spTree>
    <p:extLst>
      <p:ext uri="{BB962C8B-B14F-4D97-AF65-F5344CB8AC3E}">
        <p14:creationId xmlns:p14="http://schemas.microsoft.com/office/powerpoint/2010/main" val="4192494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P_Suez_version2010">
  <a:themeElements>
    <a:clrScheme name="SUEZ">
      <a:dk1>
        <a:srgbClr val="000000"/>
      </a:dk1>
      <a:lt1>
        <a:srgbClr val="FFFFFF"/>
      </a:lt1>
      <a:dk2>
        <a:srgbClr val="767C97"/>
      </a:dk2>
      <a:lt2>
        <a:srgbClr val="D5D6DE"/>
      </a:lt2>
      <a:accent1>
        <a:srgbClr val="3D466C"/>
      </a:accent1>
      <a:accent2>
        <a:srgbClr val="C4DE51"/>
      </a:accent2>
      <a:accent3>
        <a:srgbClr val="ABAFBF"/>
      </a:accent3>
      <a:accent4>
        <a:srgbClr val="E0E7C7"/>
      </a:accent4>
      <a:accent5>
        <a:srgbClr val="030F40"/>
      </a:accent5>
      <a:accent6>
        <a:srgbClr val="AADC14"/>
      </a:accent6>
      <a:hlink>
        <a:srgbClr val="030F40"/>
      </a:hlink>
      <a:folHlink>
        <a:srgbClr val="030F4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uverture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">
        <a:dk1>
          <a:srgbClr val="000000"/>
        </a:dk1>
        <a:lt1>
          <a:srgbClr val="FFFFFF"/>
        </a:lt1>
        <a:dk2>
          <a:srgbClr val="BADB2A"/>
        </a:dk2>
        <a:lt2>
          <a:srgbClr val="030F40"/>
        </a:lt2>
        <a:accent1>
          <a:srgbClr val="030F40"/>
        </a:accent1>
        <a:accent2>
          <a:srgbClr val="C4DE51"/>
        </a:accent2>
        <a:accent3>
          <a:srgbClr val="FFFFFF"/>
        </a:accent3>
        <a:accent4>
          <a:srgbClr val="000000"/>
        </a:accent4>
        <a:accent5>
          <a:srgbClr val="AAAAAF"/>
        </a:accent5>
        <a:accent6>
          <a:srgbClr val="B1C949"/>
        </a:accent6>
        <a:hlink>
          <a:srgbClr val="ABAFBF"/>
        </a:hlink>
        <a:folHlink>
          <a:srgbClr val="E0E7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hapter and Subchapter">
  <a:themeElements>
    <a:clrScheme name="SUEZ">
      <a:dk1>
        <a:srgbClr val="000000"/>
      </a:dk1>
      <a:lt1>
        <a:srgbClr val="FFFFFF"/>
      </a:lt1>
      <a:dk2>
        <a:srgbClr val="767C97"/>
      </a:dk2>
      <a:lt2>
        <a:srgbClr val="D5D6DE"/>
      </a:lt2>
      <a:accent1>
        <a:srgbClr val="3D466C"/>
      </a:accent1>
      <a:accent2>
        <a:srgbClr val="C4DE51"/>
      </a:accent2>
      <a:accent3>
        <a:srgbClr val="ABAFBF"/>
      </a:accent3>
      <a:accent4>
        <a:srgbClr val="E0E7C7"/>
      </a:accent4>
      <a:accent5>
        <a:srgbClr val="030F40"/>
      </a:accent5>
      <a:accent6>
        <a:srgbClr val="AADC14"/>
      </a:accent6>
      <a:hlink>
        <a:srgbClr val="030F40"/>
      </a:hlink>
      <a:folHlink>
        <a:srgbClr val="030F4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hapitre_Fond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pitre_Fond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pitre_Fond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pitre_Fond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pitre_Fond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pitre_Fond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pitre_Fond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pitre_Fond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pitre_Fond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pitre_Fond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pitre_Fond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pitre_Fond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pitre_Fond_vert 1">
        <a:dk1>
          <a:srgbClr val="000000"/>
        </a:dk1>
        <a:lt1>
          <a:srgbClr val="FFFFFF"/>
        </a:lt1>
        <a:dk2>
          <a:srgbClr val="BADB2A"/>
        </a:dk2>
        <a:lt2>
          <a:srgbClr val="030F40"/>
        </a:lt2>
        <a:accent1>
          <a:srgbClr val="030F40"/>
        </a:accent1>
        <a:accent2>
          <a:srgbClr val="C4DE51"/>
        </a:accent2>
        <a:accent3>
          <a:srgbClr val="FFFFFF"/>
        </a:accent3>
        <a:accent4>
          <a:srgbClr val="000000"/>
        </a:accent4>
        <a:accent5>
          <a:srgbClr val="AAAAAF"/>
        </a:accent5>
        <a:accent6>
          <a:srgbClr val="B1C949"/>
        </a:accent6>
        <a:hlink>
          <a:srgbClr val="ABAFBF"/>
        </a:hlink>
        <a:folHlink>
          <a:srgbClr val="E0E7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Pages de contenus">
  <a:themeElements>
    <a:clrScheme name="SUEZ">
      <a:dk1>
        <a:srgbClr val="000000"/>
      </a:dk1>
      <a:lt1>
        <a:srgbClr val="FFFFFF"/>
      </a:lt1>
      <a:dk2>
        <a:srgbClr val="767C97"/>
      </a:dk2>
      <a:lt2>
        <a:srgbClr val="D5D6DE"/>
      </a:lt2>
      <a:accent1>
        <a:srgbClr val="3D466C"/>
      </a:accent1>
      <a:accent2>
        <a:srgbClr val="C4DE51"/>
      </a:accent2>
      <a:accent3>
        <a:srgbClr val="ABAFBF"/>
      </a:accent3>
      <a:accent4>
        <a:srgbClr val="E0E7C7"/>
      </a:accent4>
      <a:accent5>
        <a:srgbClr val="030F40"/>
      </a:accent5>
      <a:accent6>
        <a:srgbClr val="AADC14"/>
      </a:accent6>
      <a:hlink>
        <a:srgbClr val="030F40"/>
      </a:hlink>
      <a:folHlink>
        <a:srgbClr val="030F4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uverture - Tex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re et contenu 1">
        <a:dk1>
          <a:srgbClr val="000000"/>
        </a:dk1>
        <a:lt1>
          <a:srgbClr val="FFFFFF"/>
        </a:lt1>
        <a:dk2>
          <a:srgbClr val="BADB2A"/>
        </a:dk2>
        <a:lt2>
          <a:srgbClr val="030F40"/>
        </a:lt2>
        <a:accent1>
          <a:srgbClr val="030F40"/>
        </a:accent1>
        <a:accent2>
          <a:srgbClr val="C4DE51"/>
        </a:accent2>
        <a:accent3>
          <a:srgbClr val="FFFFFF"/>
        </a:accent3>
        <a:accent4>
          <a:srgbClr val="000000"/>
        </a:accent4>
        <a:accent5>
          <a:srgbClr val="AAAAAF"/>
        </a:accent5>
        <a:accent6>
          <a:srgbClr val="B1C949"/>
        </a:accent6>
        <a:hlink>
          <a:srgbClr val="ABAFBF"/>
        </a:hlink>
        <a:folHlink>
          <a:srgbClr val="E0E7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Pages de contenus">
  <a:themeElements>
    <a:clrScheme name="SUEZ">
      <a:dk1>
        <a:srgbClr val="000000"/>
      </a:dk1>
      <a:lt1>
        <a:srgbClr val="FFFFFF"/>
      </a:lt1>
      <a:dk2>
        <a:srgbClr val="767C97"/>
      </a:dk2>
      <a:lt2>
        <a:srgbClr val="D5D6DE"/>
      </a:lt2>
      <a:accent1>
        <a:srgbClr val="3D466C"/>
      </a:accent1>
      <a:accent2>
        <a:srgbClr val="C4DE51"/>
      </a:accent2>
      <a:accent3>
        <a:srgbClr val="ABAFBF"/>
      </a:accent3>
      <a:accent4>
        <a:srgbClr val="E0E7C7"/>
      </a:accent4>
      <a:accent5>
        <a:srgbClr val="030F40"/>
      </a:accent5>
      <a:accent6>
        <a:srgbClr val="AADC14"/>
      </a:accent6>
      <a:hlink>
        <a:srgbClr val="030F40"/>
      </a:hlink>
      <a:folHlink>
        <a:srgbClr val="030F4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uverture - Tex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re et contenu 1">
        <a:dk1>
          <a:srgbClr val="000000"/>
        </a:dk1>
        <a:lt1>
          <a:srgbClr val="FFFFFF"/>
        </a:lt1>
        <a:dk2>
          <a:srgbClr val="BADB2A"/>
        </a:dk2>
        <a:lt2>
          <a:srgbClr val="030F40"/>
        </a:lt2>
        <a:accent1>
          <a:srgbClr val="030F40"/>
        </a:accent1>
        <a:accent2>
          <a:srgbClr val="C4DE51"/>
        </a:accent2>
        <a:accent3>
          <a:srgbClr val="FFFFFF"/>
        </a:accent3>
        <a:accent4>
          <a:srgbClr val="000000"/>
        </a:accent4>
        <a:accent5>
          <a:srgbClr val="AAAAAF"/>
        </a:accent5>
        <a:accent6>
          <a:srgbClr val="B1C949"/>
        </a:accent6>
        <a:hlink>
          <a:srgbClr val="ABAFBF"/>
        </a:hlink>
        <a:folHlink>
          <a:srgbClr val="E0E7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Couvertures">
  <a:themeElements>
    <a:clrScheme name="SUEZ">
      <a:dk1>
        <a:srgbClr val="000000"/>
      </a:dk1>
      <a:lt1>
        <a:srgbClr val="FFFFFF"/>
      </a:lt1>
      <a:dk2>
        <a:srgbClr val="767C97"/>
      </a:dk2>
      <a:lt2>
        <a:srgbClr val="D5D6DE"/>
      </a:lt2>
      <a:accent1>
        <a:srgbClr val="3D466C"/>
      </a:accent1>
      <a:accent2>
        <a:srgbClr val="C4DE51"/>
      </a:accent2>
      <a:accent3>
        <a:srgbClr val="ABAFBF"/>
      </a:accent3>
      <a:accent4>
        <a:srgbClr val="E0E7C7"/>
      </a:accent4>
      <a:accent5>
        <a:srgbClr val="030F40"/>
      </a:accent5>
      <a:accent6>
        <a:srgbClr val="AADC14"/>
      </a:accent6>
      <a:hlink>
        <a:srgbClr val="030F40"/>
      </a:hlink>
      <a:folHlink>
        <a:srgbClr val="030F4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uverture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">
        <a:dk1>
          <a:srgbClr val="000000"/>
        </a:dk1>
        <a:lt1>
          <a:srgbClr val="FFFFFF"/>
        </a:lt1>
        <a:dk2>
          <a:srgbClr val="BADB2A"/>
        </a:dk2>
        <a:lt2>
          <a:srgbClr val="030F40"/>
        </a:lt2>
        <a:accent1>
          <a:srgbClr val="030F40"/>
        </a:accent1>
        <a:accent2>
          <a:srgbClr val="C4DE51"/>
        </a:accent2>
        <a:accent3>
          <a:srgbClr val="FFFFFF"/>
        </a:accent3>
        <a:accent4>
          <a:srgbClr val="000000"/>
        </a:accent4>
        <a:accent5>
          <a:srgbClr val="AAAAAF"/>
        </a:accent5>
        <a:accent6>
          <a:srgbClr val="B1C949"/>
        </a:accent6>
        <a:hlink>
          <a:srgbClr val="ABAFBF"/>
        </a:hlink>
        <a:folHlink>
          <a:srgbClr val="E0E7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ESP_Suez_version2010">
  <a:themeElements>
    <a:clrScheme name="SUEZ">
      <a:dk1>
        <a:srgbClr val="000000"/>
      </a:dk1>
      <a:lt1>
        <a:srgbClr val="FFFFFF"/>
      </a:lt1>
      <a:dk2>
        <a:srgbClr val="767C97"/>
      </a:dk2>
      <a:lt2>
        <a:srgbClr val="D5D6DE"/>
      </a:lt2>
      <a:accent1>
        <a:srgbClr val="3D466C"/>
      </a:accent1>
      <a:accent2>
        <a:srgbClr val="C4DE51"/>
      </a:accent2>
      <a:accent3>
        <a:srgbClr val="ABAFBF"/>
      </a:accent3>
      <a:accent4>
        <a:srgbClr val="E0E7C7"/>
      </a:accent4>
      <a:accent5>
        <a:srgbClr val="030F40"/>
      </a:accent5>
      <a:accent6>
        <a:srgbClr val="AADC14"/>
      </a:accent6>
      <a:hlink>
        <a:srgbClr val="030F40"/>
      </a:hlink>
      <a:folHlink>
        <a:srgbClr val="030F4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uverture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_1 1">
        <a:dk1>
          <a:srgbClr val="000000"/>
        </a:dk1>
        <a:lt1>
          <a:srgbClr val="FFFFFF"/>
        </a:lt1>
        <a:dk2>
          <a:srgbClr val="BADB2A"/>
        </a:dk2>
        <a:lt2>
          <a:srgbClr val="030F40"/>
        </a:lt2>
        <a:accent1>
          <a:srgbClr val="030F40"/>
        </a:accent1>
        <a:accent2>
          <a:srgbClr val="C4DE51"/>
        </a:accent2>
        <a:accent3>
          <a:srgbClr val="FFFFFF"/>
        </a:accent3>
        <a:accent4>
          <a:srgbClr val="000000"/>
        </a:accent4>
        <a:accent5>
          <a:srgbClr val="AAAAAF"/>
        </a:accent5>
        <a:accent6>
          <a:srgbClr val="B1C949"/>
        </a:accent6>
        <a:hlink>
          <a:srgbClr val="ABAFBF"/>
        </a:hlink>
        <a:folHlink>
          <a:srgbClr val="E0E7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UEZ">
    <a:dk1>
      <a:srgbClr val="000000"/>
    </a:dk1>
    <a:lt1>
      <a:srgbClr val="FFFFFF"/>
    </a:lt1>
    <a:dk2>
      <a:srgbClr val="767C97"/>
    </a:dk2>
    <a:lt2>
      <a:srgbClr val="D5D6DE"/>
    </a:lt2>
    <a:accent1>
      <a:srgbClr val="3D466C"/>
    </a:accent1>
    <a:accent2>
      <a:srgbClr val="C4DE51"/>
    </a:accent2>
    <a:accent3>
      <a:srgbClr val="ABAFBF"/>
    </a:accent3>
    <a:accent4>
      <a:srgbClr val="E0E7C7"/>
    </a:accent4>
    <a:accent5>
      <a:srgbClr val="030F40"/>
    </a:accent5>
    <a:accent6>
      <a:srgbClr val="AADC14"/>
    </a:accent6>
    <a:hlink>
      <a:srgbClr val="030F40"/>
    </a:hlink>
    <a:folHlink>
      <a:srgbClr val="030F40"/>
    </a:folHlink>
  </a:clrScheme>
</a:themeOverride>
</file>

<file path=ppt/theme/themeOverride2.xml><?xml version="1.0" encoding="utf-8"?>
<a:themeOverride xmlns:a="http://schemas.openxmlformats.org/drawingml/2006/main">
  <a:clrScheme name="SUEZ">
    <a:dk1>
      <a:srgbClr val="000000"/>
    </a:dk1>
    <a:lt1>
      <a:srgbClr val="FFFFFF"/>
    </a:lt1>
    <a:dk2>
      <a:srgbClr val="767C97"/>
    </a:dk2>
    <a:lt2>
      <a:srgbClr val="D5D6DE"/>
    </a:lt2>
    <a:accent1>
      <a:srgbClr val="3D466C"/>
    </a:accent1>
    <a:accent2>
      <a:srgbClr val="C4DE51"/>
    </a:accent2>
    <a:accent3>
      <a:srgbClr val="ABAFBF"/>
    </a:accent3>
    <a:accent4>
      <a:srgbClr val="E0E7C7"/>
    </a:accent4>
    <a:accent5>
      <a:srgbClr val="030F40"/>
    </a:accent5>
    <a:accent6>
      <a:srgbClr val="AADC14"/>
    </a:accent6>
    <a:hlink>
      <a:srgbClr val="030F40"/>
    </a:hlink>
    <a:folHlink>
      <a:srgbClr val="030F4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750</TotalTime>
  <Words>1884</Words>
  <Application>Microsoft Office PowerPoint</Application>
  <PresentationFormat>Presentación en pantalla (4:3)</PresentationFormat>
  <Paragraphs>280</Paragraphs>
  <Slides>15</Slides>
  <Notes>15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30" baseType="lpstr">
      <vt:lpstr>ＭＳ Ｐゴシック</vt:lpstr>
      <vt:lpstr>ＭＳ Ｐゴシック</vt:lpstr>
      <vt:lpstr>Arial</vt:lpstr>
      <vt:lpstr>BankGothic Lt BT</vt:lpstr>
      <vt:lpstr>Calibri</vt:lpstr>
      <vt:lpstr>DINPro-Bold</vt:lpstr>
      <vt:lpstr>DINPro-CondBold</vt:lpstr>
      <vt:lpstr>Wingdings</vt:lpstr>
      <vt:lpstr>ESP_Suez_version2010</vt:lpstr>
      <vt:lpstr>Chapter and Subchapter</vt:lpstr>
      <vt:lpstr>2_Pages de contenus</vt:lpstr>
      <vt:lpstr>3_Pages de contenus</vt:lpstr>
      <vt:lpstr>Couvertures</vt:lpstr>
      <vt:lpstr>1_ESP_Suez_version2010</vt:lpstr>
      <vt:lpstr>Diapositiva de think-cell</vt:lpstr>
      <vt:lpstr>El mercado, el cultivo y las necesidades de agua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l mercado, el cultivo y las necesidades de agua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Manager>SUEZ</Manager>
  <Company>SUEZ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EZ</dc:title>
  <dc:subject>SUEZ</dc:subject>
  <dc:creator>gdemontis@agbar.es</dc:creator>
  <cp:lastModifiedBy>Vazquez Hermida, Juan Manuel</cp:lastModifiedBy>
  <cp:revision>1589</cp:revision>
  <cp:lastPrinted>2018-01-16T07:21:21Z</cp:lastPrinted>
  <dcterms:created xsi:type="dcterms:W3CDTF">2014-01-24T09:16:26Z</dcterms:created>
  <dcterms:modified xsi:type="dcterms:W3CDTF">2018-01-16T07:22:57Z</dcterms:modified>
</cp:coreProperties>
</file>